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84" r:id="rId3"/>
    <p:sldMasterId id="2147483696" r:id="rId4"/>
    <p:sldMasterId id="2147483708" r:id="rId5"/>
    <p:sldMasterId id="2147483720" r:id="rId6"/>
  </p:sldMasterIdLst>
  <p:notesMasterIdLst>
    <p:notesMasterId r:id="rId26"/>
  </p:notesMasterIdLst>
  <p:handoutMasterIdLst>
    <p:handoutMasterId r:id="rId27"/>
  </p:handoutMasterIdLst>
  <p:sldIdLst>
    <p:sldId id="256" r:id="rId7"/>
    <p:sldId id="10544" r:id="rId8"/>
    <p:sldId id="10545" r:id="rId9"/>
    <p:sldId id="10563" r:id="rId10"/>
    <p:sldId id="325" r:id="rId11"/>
    <p:sldId id="10553" r:id="rId12"/>
    <p:sldId id="10556" r:id="rId13"/>
    <p:sldId id="10557" r:id="rId14"/>
    <p:sldId id="10539" r:id="rId15"/>
    <p:sldId id="268" r:id="rId16"/>
    <p:sldId id="10568" r:id="rId17"/>
    <p:sldId id="10549" r:id="rId18"/>
    <p:sldId id="10562" r:id="rId19"/>
    <p:sldId id="10570" r:id="rId20"/>
    <p:sldId id="10571" r:id="rId21"/>
    <p:sldId id="10565" r:id="rId22"/>
    <p:sldId id="10566" r:id="rId23"/>
    <p:sldId id="10567" r:id="rId24"/>
    <p:sldId id="10564" r:id="rId25"/>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autoAdjust="0"/>
    <p:restoredTop sz="86894" autoAdjust="0"/>
  </p:normalViewPr>
  <p:slideViewPr>
    <p:cSldViewPr snapToGrid="0">
      <p:cViewPr varScale="1">
        <p:scale>
          <a:sx n="76" d="100"/>
          <a:sy n="76" d="100"/>
        </p:scale>
        <p:origin x="946" y="58"/>
      </p:cViewPr>
      <p:guideLst/>
    </p:cSldViewPr>
  </p:slideViewPr>
  <p:outlineViewPr>
    <p:cViewPr>
      <p:scale>
        <a:sx n="33" d="100"/>
        <a:sy n="33" d="100"/>
      </p:scale>
      <p:origin x="0" y="-17988"/>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nicolac\Documents\3.%20All%20Reports\COVID-19%20Epi-Brief%20Report\National%20trends-%20Weekxx%20Resultsworkshee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PhindiZ\Desktop\Diphtheria\Reports\Current\Diphtheria_overview_2025-07-20.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PhindiZ\Desktop\Diphtheria\Reports\Current\Diphtheria_overview_2025-07-20.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PhindiZ\Desktop\Diphtheria\Reports\Current\Diphtheria_overview_2025-07-20.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PhindiZ\Desktop\Diphtheria\Reports\Current\Diphtheria_overview_2025-07-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099043416696629E-2"/>
          <c:y val="2.9810298102981029E-2"/>
          <c:w val="0.87886220448244479"/>
          <c:h val="0.77558542987004664"/>
        </c:manualLayout>
      </c:layout>
      <c:barChart>
        <c:barDir val="col"/>
        <c:grouping val="clustered"/>
        <c:varyColors val="0"/>
        <c:ser>
          <c:idx val="0"/>
          <c:order val="0"/>
          <c:tx>
            <c:strRef>
              <c:f>'National epi curve'!$M$1</c:f>
              <c:strCache>
                <c:ptCount val="1"/>
                <c:pt idx="0">
                  <c:v>Daily cases</c:v>
                </c:pt>
              </c:strCache>
            </c:strRef>
          </c:tx>
          <c:spPr>
            <a:solidFill>
              <a:schemeClr val="accent1"/>
            </a:solidFill>
            <a:ln>
              <a:noFill/>
            </a:ln>
            <a:effectLst/>
          </c:spPr>
          <c:invertIfNegative val="0"/>
          <c:cat>
            <c:multiLvlStrRef>
              <c:f>'National epi curve'!$A$3:$B$993</c:f>
              <c:multiLvlStrCache>
                <c:ptCount val="991"/>
                <c:lvl>
                  <c:pt idx="0">
                    <c:v>02-Mar</c:v>
                  </c:pt>
                  <c:pt idx="1">
                    <c:v>03-Mar</c:v>
                  </c:pt>
                  <c:pt idx="2">
                    <c:v>06-Mar</c:v>
                  </c:pt>
                  <c:pt idx="3">
                    <c:v>07-Mar</c:v>
                  </c:pt>
                  <c:pt idx="4">
                    <c:v>08-Mar</c:v>
                  </c:pt>
                  <c:pt idx="5">
                    <c:v>09-Mar</c:v>
                  </c:pt>
                  <c:pt idx="6">
                    <c:v>10-Mar</c:v>
                  </c:pt>
                  <c:pt idx="7">
                    <c:v>11-Mar</c:v>
                  </c:pt>
                  <c:pt idx="8">
                    <c:v>12-Mar</c:v>
                  </c:pt>
                  <c:pt idx="9">
                    <c:v>13-Mar</c:v>
                  </c:pt>
                  <c:pt idx="10">
                    <c:v>14-Mar</c:v>
                  </c:pt>
                  <c:pt idx="11">
                    <c:v>15-Mar</c:v>
                  </c:pt>
                  <c:pt idx="12">
                    <c:v>16-Mar</c:v>
                  </c:pt>
                  <c:pt idx="13">
                    <c:v>17-Mar</c:v>
                  </c:pt>
                  <c:pt idx="14">
                    <c:v>18-Mar</c:v>
                  </c:pt>
                  <c:pt idx="15">
                    <c:v>19-Mar</c:v>
                  </c:pt>
                  <c:pt idx="16">
                    <c:v>20-Mar</c:v>
                  </c:pt>
                  <c:pt idx="17">
                    <c:v>21-Mar</c:v>
                  </c:pt>
                  <c:pt idx="18">
                    <c:v>22-Mar</c:v>
                  </c:pt>
                  <c:pt idx="19">
                    <c:v>23-Mar</c:v>
                  </c:pt>
                  <c:pt idx="20">
                    <c:v>24-Mar</c:v>
                  </c:pt>
                  <c:pt idx="21">
                    <c:v>25-Mar</c:v>
                  </c:pt>
                  <c:pt idx="22">
                    <c:v>26-Mar</c:v>
                  </c:pt>
                  <c:pt idx="23">
                    <c:v>27-Mar</c:v>
                  </c:pt>
                  <c:pt idx="24">
                    <c:v>28-Mar</c:v>
                  </c:pt>
                  <c:pt idx="25">
                    <c:v>29-Mar</c:v>
                  </c:pt>
                  <c:pt idx="26">
                    <c:v>30-Mar</c:v>
                  </c:pt>
                  <c:pt idx="27">
                    <c:v>31-Mar</c:v>
                  </c:pt>
                  <c:pt idx="28">
                    <c:v>01-Apr</c:v>
                  </c:pt>
                  <c:pt idx="29">
                    <c:v>02-Apr</c:v>
                  </c:pt>
                  <c:pt idx="30">
                    <c:v>03-Apr</c:v>
                  </c:pt>
                  <c:pt idx="31">
                    <c:v>04-Apr</c:v>
                  </c:pt>
                  <c:pt idx="32">
                    <c:v>05-Apr</c:v>
                  </c:pt>
                  <c:pt idx="33">
                    <c:v>06-Apr</c:v>
                  </c:pt>
                  <c:pt idx="34">
                    <c:v>07-Apr</c:v>
                  </c:pt>
                  <c:pt idx="35">
                    <c:v>08-Apr</c:v>
                  </c:pt>
                  <c:pt idx="36">
                    <c:v>09-Apr</c:v>
                  </c:pt>
                  <c:pt idx="37">
                    <c:v>10-Apr</c:v>
                  </c:pt>
                  <c:pt idx="38">
                    <c:v>11-Apr</c:v>
                  </c:pt>
                  <c:pt idx="39">
                    <c:v>12-Apr</c:v>
                  </c:pt>
                  <c:pt idx="40">
                    <c:v>13-Apr</c:v>
                  </c:pt>
                  <c:pt idx="41">
                    <c:v>14-Apr</c:v>
                  </c:pt>
                  <c:pt idx="42">
                    <c:v>15-Apr</c:v>
                  </c:pt>
                  <c:pt idx="43">
                    <c:v>16-Apr</c:v>
                  </c:pt>
                  <c:pt idx="44">
                    <c:v>17-Apr</c:v>
                  </c:pt>
                  <c:pt idx="45">
                    <c:v>18-Apr</c:v>
                  </c:pt>
                  <c:pt idx="46">
                    <c:v>19-Apr</c:v>
                  </c:pt>
                  <c:pt idx="47">
                    <c:v>20-Apr</c:v>
                  </c:pt>
                  <c:pt idx="48">
                    <c:v>21-Apr</c:v>
                  </c:pt>
                  <c:pt idx="49">
                    <c:v>22-Apr</c:v>
                  </c:pt>
                  <c:pt idx="50">
                    <c:v>23-Apr</c:v>
                  </c:pt>
                  <c:pt idx="51">
                    <c:v>24-Apr</c:v>
                  </c:pt>
                  <c:pt idx="52">
                    <c:v>25-Apr</c:v>
                  </c:pt>
                  <c:pt idx="53">
                    <c:v>26-Apr</c:v>
                  </c:pt>
                  <c:pt idx="54">
                    <c:v>27-Apr</c:v>
                  </c:pt>
                  <c:pt idx="55">
                    <c:v>28-Apr</c:v>
                  </c:pt>
                  <c:pt idx="56">
                    <c:v>29-Apr</c:v>
                  </c:pt>
                  <c:pt idx="57">
                    <c:v>30-Apr</c:v>
                  </c:pt>
                  <c:pt idx="58">
                    <c:v>01-May</c:v>
                  </c:pt>
                  <c:pt idx="59">
                    <c:v>02-May</c:v>
                  </c:pt>
                  <c:pt idx="60">
                    <c:v>03-May</c:v>
                  </c:pt>
                  <c:pt idx="61">
                    <c:v>04-May</c:v>
                  </c:pt>
                  <c:pt idx="62">
                    <c:v>05-May</c:v>
                  </c:pt>
                  <c:pt idx="63">
                    <c:v>06-May</c:v>
                  </c:pt>
                  <c:pt idx="64">
                    <c:v>07-May</c:v>
                  </c:pt>
                  <c:pt idx="65">
                    <c:v>08-May</c:v>
                  </c:pt>
                  <c:pt idx="66">
                    <c:v>09-May</c:v>
                  </c:pt>
                  <c:pt idx="67">
                    <c:v>10-May</c:v>
                  </c:pt>
                  <c:pt idx="68">
                    <c:v>11-May</c:v>
                  </c:pt>
                  <c:pt idx="69">
                    <c:v>12-May</c:v>
                  </c:pt>
                  <c:pt idx="70">
                    <c:v>13-May</c:v>
                  </c:pt>
                  <c:pt idx="71">
                    <c:v>14-May</c:v>
                  </c:pt>
                  <c:pt idx="72">
                    <c:v>15-May</c:v>
                  </c:pt>
                  <c:pt idx="73">
                    <c:v>16-May</c:v>
                  </c:pt>
                  <c:pt idx="74">
                    <c:v>17-May</c:v>
                  </c:pt>
                  <c:pt idx="75">
                    <c:v>18-May</c:v>
                  </c:pt>
                  <c:pt idx="76">
                    <c:v>19-May</c:v>
                  </c:pt>
                  <c:pt idx="77">
                    <c:v>20-May</c:v>
                  </c:pt>
                  <c:pt idx="78">
                    <c:v>21-May</c:v>
                  </c:pt>
                  <c:pt idx="79">
                    <c:v>22-May</c:v>
                  </c:pt>
                  <c:pt idx="80">
                    <c:v>23-May</c:v>
                  </c:pt>
                  <c:pt idx="81">
                    <c:v>24-May</c:v>
                  </c:pt>
                  <c:pt idx="82">
                    <c:v>25-May</c:v>
                  </c:pt>
                  <c:pt idx="83">
                    <c:v>26-May</c:v>
                  </c:pt>
                  <c:pt idx="84">
                    <c:v>27-May</c:v>
                  </c:pt>
                  <c:pt idx="85">
                    <c:v>28-May</c:v>
                  </c:pt>
                  <c:pt idx="86">
                    <c:v>29-May</c:v>
                  </c:pt>
                  <c:pt idx="87">
                    <c:v>30-May</c:v>
                  </c:pt>
                  <c:pt idx="88">
                    <c:v>31-May</c:v>
                  </c:pt>
                  <c:pt idx="89">
                    <c:v>01-Jun</c:v>
                  </c:pt>
                  <c:pt idx="90">
                    <c:v>02-Jun</c:v>
                  </c:pt>
                  <c:pt idx="91">
                    <c:v>03-Jun</c:v>
                  </c:pt>
                  <c:pt idx="92">
                    <c:v>04-Jun</c:v>
                  </c:pt>
                  <c:pt idx="93">
                    <c:v>05-Jun</c:v>
                  </c:pt>
                  <c:pt idx="94">
                    <c:v>06-Jun</c:v>
                  </c:pt>
                  <c:pt idx="95">
                    <c:v>07-Jun</c:v>
                  </c:pt>
                  <c:pt idx="96">
                    <c:v>08-Jun</c:v>
                  </c:pt>
                  <c:pt idx="97">
                    <c:v>09-Jun</c:v>
                  </c:pt>
                  <c:pt idx="98">
                    <c:v>10-Jun</c:v>
                  </c:pt>
                  <c:pt idx="99">
                    <c:v>11-Jun</c:v>
                  </c:pt>
                  <c:pt idx="100">
                    <c:v>12-Jun</c:v>
                  </c:pt>
                  <c:pt idx="101">
                    <c:v>13-Jun</c:v>
                  </c:pt>
                  <c:pt idx="102">
                    <c:v>14-Jun</c:v>
                  </c:pt>
                  <c:pt idx="103">
                    <c:v>15-Jun</c:v>
                  </c:pt>
                  <c:pt idx="104">
                    <c:v>16-Jun</c:v>
                  </c:pt>
                  <c:pt idx="105">
                    <c:v>17-Jun</c:v>
                  </c:pt>
                  <c:pt idx="106">
                    <c:v>18-Jun</c:v>
                  </c:pt>
                  <c:pt idx="107">
                    <c:v>19-Jun</c:v>
                  </c:pt>
                  <c:pt idx="108">
                    <c:v>20-Jun</c:v>
                  </c:pt>
                  <c:pt idx="109">
                    <c:v>21-Jun</c:v>
                  </c:pt>
                  <c:pt idx="110">
                    <c:v>22-Jun</c:v>
                  </c:pt>
                  <c:pt idx="111">
                    <c:v>23-Jun</c:v>
                  </c:pt>
                  <c:pt idx="112">
                    <c:v>24-Jun</c:v>
                  </c:pt>
                  <c:pt idx="113">
                    <c:v>25-Jun</c:v>
                  </c:pt>
                  <c:pt idx="114">
                    <c:v>26-Jun</c:v>
                  </c:pt>
                  <c:pt idx="115">
                    <c:v>27-Jun</c:v>
                  </c:pt>
                  <c:pt idx="116">
                    <c:v>28-Jun</c:v>
                  </c:pt>
                  <c:pt idx="117">
                    <c:v>29-Jun</c:v>
                  </c:pt>
                  <c:pt idx="118">
                    <c:v>30-Jun</c:v>
                  </c:pt>
                  <c:pt idx="119">
                    <c:v>01-Jul</c:v>
                  </c:pt>
                  <c:pt idx="120">
                    <c:v>02-Jul</c:v>
                  </c:pt>
                  <c:pt idx="121">
                    <c:v>03-Jul</c:v>
                  </c:pt>
                  <c:pt idx="122">
                    <c:v>04-Jul</c:v>
                  </c:pt>
                  <c:pt idx="123">
                    <c:v>05-Jul</c:v>
                  </c:pt>
                  <c:pt idx="124">
                    <c:v>06-Jul</c:v>
                  </c:pt>
                  <c:pt idx="125">
                    <c:v>07-Jul</c:v>
                  </c:pt>
                  <c:pt idx="126">
                    <c:v>08-Jul</c:v>
                  </c:pt>
                  <c:pt idx="127">
                    <c:v>09-Jul</c:v>
                  </c:pt>
                  <c:pt idx="128">
                    <c:v>10-Jul</c:v>
                  </c:pt>
                  <c:pt idx="129">
                    <c:v>11-Jul</c:v>
                  </c:pt>
                  <c:pt idx="130">
                    <c:v>12-Jul</c:v>
                  </c:pt>
                  <c:pt idx="131">
                    <c:v>13-Jul</c:v>
                  </c:pt>
                  <c:pt idx="132">
                    <c:v>14-Jul</c:v>
                  </c:pt>
                  <c:pt idx="133">
                    <c:v>15-Jul</c:v>
                  </c:pt>
                  <c:pt idx="134">
                    <c:v>16-Jul</c:v>
                  </c:pt>
                  <c:pt idx="135">
                    <c:v>17-Jul</c:v>
                  </c:pt>
                  <c:pt idx="136">
                    <c:v>18-Jul</c:v>
                  </c:pt>
                  <c:pt idx="137">
                    <c:v>19-Jul</c:v>
                  </c:pt>
                  <c:pt idx="138">
                    <c:v>20-Jul</c:v>
                  </c:pt>
                  <c:pt idx="139">
                    <c:v>21-Jul</c:v>
                  </c:pt>
                  <c:pt idx="140">
                    <c:v>22-Jul</c:v>
                  </c:pt>
                  <c:pt idx="141">
                    <c:v>23-Jul</c:v>
                  </c:pt>
                  <c:pt idx="142">
                    <c:v>24-Jul</c:v>
                  </c:pt>
                  <c:pt idx="143">
                    <c:v>25-Jul</c:v>
                  </c:pt>
                  <c:pt idx="144">
                    <c:v>26-Jul</c:v>
                  </c:pt>
                  <c:pt idx="145">
                    <c:v>27-Jul</c:v>
                  </c:pt>
                  <c:pt idx="146">
                    <c:v>28-Jul</c:v>
                  </c:pt>
                  <c:pt idx="147">
                    <c:v>29-Jul</c:v>
                  </c:pt>
                  <c:pt idx="148">
                    <c:v>30-Jul</c:v>
                  </c:pt>
                  <c:pt idx="149">
                    <c:v>31-Jul</c:v>
                  </c:pt>
                  <c:pt idx="150">
                    <c:v>01-Aug</c:v>
                  </c:pt>
                  <c:pt idx="151">
                    <c:v>02-Aug</c:v>
                  </c:pt>
                  <c:pt idx="152">
                    <c:v>03-Aug</c:v>
                  </c:pt>
                  <c:pt idx="153">
                    <c:v>04-Aug</c:v>
                  </c:pt>
                  <c:pt idx="154">
                    <c:v>05-Aug</c:v>
                  </c:pt>
                  <c:pt idx="155">
                    <c:v>06-Aug</c:v>
                  </c:pt>
                  <c:pt idx="156">
                    <c:v>07-Aug</c:v>
                  </c:pt>
                  <c:pt idx="157">
                    <c:v>08-Aug</c:v>
                  </c:pt>
                  <c:pt idx="158">
                    <c:v>09-Aug</c:v>
                  </c:pt>
                  <c:pt idx="159">
                    <c:v>10-Aug</c:v>
                  </c:pt>
                  <c:pt idx="160">
                    <c:v>11-Aug</c:v>
                  </c:pt>
                  <c:pt idx="161">
                    <c:v>12-Aug</c:v>
                  </c:pt>
                  <c:pt idx="162">
                    <c:v>13-Aug</c:v>
                  </c:pt>
                  <c:pt idx="163">
                    <c:v>14-Aug</c:v>
                  </c:pt>
                  <c:pt idx="164">
                    <c:v>15-Aug</c:v>
                  </c:pt>
                  <c:pt idx="165">
                    <c:v>16-Aug</c:v>
                  </c:pt>
                  <c:pt idx="166">
                    <c:v>17-Aug</c:v>
                  </c:pt>
                  <c:pt idx="167">
                    <c:v>18-Aug</c:v>
                  </c:pt>
                  <c:pt idx="168">
                    <c:v>19-Aug</c:v>
                  </c:pt>
                  <c:pt idx="169">
                    <c:v>20-Aug</c:v>
                  </c:pt>
                  <c:pt idx="170">
                    <c:v>21-Aug</c:v>
                  </c:pt>
                  <c:pt idx="171">
                    <c:v>22-Aug</c:v>
                  </c:pt>
                  <c:pt idx="172">
                    <c:v>23-Aug</c:v>
                  </c:pt>
                  <c:pt idx="173">
                    <c:v>24-Aug</c:v>
                  </c:pt>
                  <c:pt idx="174">
                    <c:v>25-Aug</c:v>
                  </c:pt>
                  <c:pt idx="175">
                    <c:v>26-Aug</c:v>
                  </c:pt>
                  <c:pt idx="176">
                    <c:v>27-Aug</c:v>
                  </c:pt>
                  <c:pt idx="177">
                    <c:v>28-Aug</c:v>
                  </c:pt>
                  <c:pt idx="178">
                    <c:v>29-Aug</c:v>
                  </c:pt>
                  <c:pt idx="179">
                    <c:v>30-Aug</c:v>
                  </c:pt>
                  <c:pt idx="180">
                    <c:v>31-Aug</c:v>
                  </c:pt>
                  <c:pt idx="181">
                    <c:v>01-Sep</c:v>
                  </c:pt>
                  <c:pt idx="182">
                    <c:v>02-Sep</c:v>
                  </c:pt>
                  <c:pt idx="183">
                    <c:v>03-Sep</c:v>
                  </c:pt>
                  <c:pt idx="184">
                    <c:v>04-Sep</c:v>
                  </c:pt>
                  <c:pt idx="185">
                    <c:v>05-Sep</c:v>
                  </c:pt>
                  <c:pt idx="186">
                    <c:v>06-Sep</c:v>
                  </c:pt>
                  <c:pt idx="187">
                    <c:v>07-Sep</c:v>
                  </c:pt>
                  <c:pt idx="188">
                    <c:v>08-Sep</c:v>
                  </c:pt>
                  <c:pt idx="189">
                    <c:v>09-Sep</c:v>
                  </c:pt>
                  <c:pt idx="190">
                    <c:v>10-Sep</c:v>
                  </c:pt>
                  <c:pt idx="191">
                    <c:v>11-Sep</c:v>
                  </c:pt>
                  <c:pt idx="192">
                    <c:v>12-Sep</c:v>
                  </c:pt>
                  <c:pt idx="193">
                    <c:v>13-Sep</c:v>
                  </c:pt>
                  <c:pt idx="194">
                    <c:v>14-Sep</c:v>
                  </c:pt>
                  <c:pt idx="195">
                    <c:v>15-Sep</c:v>
                  </c:pt>
                  <c:pt idx="196">
                    <c:v>16-Sep</c:v>
                  </c:pt>
                  <c:pt idx="197">
                    <c:v>17-Sep</c:v>
                  </c:pt>
                  <c:pt idx="198">
                    <c:v>18-Sep</c:v>
                  </c:pt>
                  <c:pt idx="199">
                    <c:v>19-Sep</c:v>
                  </c:pt>
                  <c:pt idx="200">
                    <c:v>20-Sep</c:v>
                  </c:pt>
                  <c:pt idx="201">
                    <c:v>21-Sep</c:v>
                  </c:pt>
                  <c:pt idx="202">
                    <c:v>22-Sep</c:v>
                  </c:pt>
                  <c:pt idx="203">
                    <c:v>23-Sep</c:v>
                  </c:pt>
                  <c:pt idx="204">
                    <c:v>24-Sep</c:v>
                  </c:pt>
                  <c:pt idx="205">
                    <c:v>25-Sep</c:v>
                  </c:pt>
                  <c:pt idx="206">
                    <c:v>26-Sep</c:v>
                  </c:pt>
                  <c:pt idx="207">
                    <c:v>27-Sep</c:v>
                  </c:pt>
                  <c:pt idx="208">
                    <c:v>28-Sep</c:v>
                  </c:pt>
                  <c:pt idx="209">
                    <c:v>29-Sep</c:v>
                  </c:pt>
                  <c:pt idx="210">
                    <c:v>30-Sep</c:v>
                  </c:pt>
                  <c:pt idx="211">
                    <c:v>01-Oct</c:v>
                  </c:pt>
                  <c:pt idx="212">
                    <c:v>02-Oct</c:v>
                  </c:pt>
                  <c:pt idx="213">
                    <c:v>03-Oct</c:v>
                  </c:pt>
                  <c:pt idx="214">
                    <c:v>04-Oct</c:v>
                  </c:pt>
                  <c:pt idx="215">
                    <c:v>05-Oct</c:v>
                  </c:pt>
                  <c:pt idx="216">
                    <c:v>06-Oct</c:v>
                  </c:pt>
                  <c:pt idx="217">
                    <c:v>07-Oct</c:v>
                  </c:pt>
                  <c:pt idx="218">
                    <c:v>08-Oct</c:v>
                  </c:pt>
                  <c:pt idx="219">
                    <c:v>09-Oct</c:v>
                  </c:pt>
                  <c:pt idx="220">
                    <c:v>10-Oct</c:v>
                  </c:pt>
                  <c:pt idx="221">
                    <c:v>11-Oct</c:v>
                  </c:pt>
                  <c:pt idx="222">
                    <c:v>12-Oct</c:v>
                  </c:pt>
                  <c:pt idx="223">
                    <c:v>13-Oct</c:v>
                  </c:pt>
                  <c:pt idx="224">
                    <c:v>14-Oct</c:v>
                  </c:pt>
                  <c:pt idx="225">
                    <c:v>15-Oct</c:v>
                  </c:pt>
                  <c:pt idx="226">
                    <c:v>16-Oct</c:v>
                  </c:pt>
                  <c:pt idx="227">
                    <c:v>17-Oct</c:v>
                  </c:pt>
                  <c:pt idx="228">
                    <c:v>18-Oct</c:v>
                  </c:pt>
                  <c:pt idx="229">
                    <c:v>19-Oct</c:v>
                  </c:pt>
                  <c:pt idx="230">
                    <c:v>20-Oct</c:v>
                  </c:pt>
                  <c:pt idx="231">
                    <c:v>21-Oct</c:v>
                  </c:pt>
                  <c:pt idx="232">
                    <c:v>22-Oct</c:v>
                  </c:pt>
                  <c:pt idx="233">
                    <c:v>23-Oct</c:v>
                  </c:pt>
                  <c:pt idx="234">
                    <c:v>24-Oct</c:v>
                  </c:pt>
                  <c:pt idx="235">
                    <c:v>25-Oct</c:v>
                  </c:pt>
                  <c:pt idx="236">
                    <c:v>26-Oct</c:v>
                  </c:pt>
                  <c:pt idx="237">
                    <c:v>27-Oct</c:v>
                  </c:pt>
                  <c:pt idx="238">
                    <c:v>28-Oct</c:v>
                  </c:pt>
                  <c:pt idx="239">
                    <c:v>29-Oct</c:v>
                  </c:pt>
                  <c:pt idx="240">
                    <c:v>30-Oct</c:v>
                  </c:pt>
                  <c:pt idx="241">
                    <c:v>31-Oct</c:v>
                  </c:pt>
                  <c:pt idx="242">
                    <c:v>01-Nov</c:v>
                  </c:pt>
                  <c:pt idx="243">
                    <c:v>02-Nov</c:v>
                  </c:pt>
                  <c:pt idx="244">
                    <c:v>03-Nov</c:v>
                  </c:pt>
                  <c:pt idx="245">
                    <c:v>04-Nov</c:v>
                  </c:pt>
                  <c:pt idx="246">
                    <c:v>05-Nov</c:v>
                  </c:pt>
                  <c:pt idx="247">
                    <c:v>06-Nov</c:v>
                  </c:pt>
                  <c:pt idx="248">
                    <c:v>07-Nov</c:v>
                  </c:pt>
                  <c:pt idx="249">
                    <c:v>08-Nov</c:v>
                  </c:pt>
                  <c:pt idx="250">
                    <c:v>09-Nov</c:v>
                  </c:pt>
                  <c:pt idx="251">
                    <c:v>10-Nov</c:v>
                  </c:pt>
                  <c:pt idx="252">
                    <c:v>11-Nov</c:v>
                  </c:pt>
                  <c:pt idx="253">
                    <c:v>12-Nov</c:v>
                  </c:pt>
                  <c:pt idx="254">
                    <c:v>13-Nov</c:v>
                  </c:pt>
                  <c:pt idx="255">
                    <c:v>14-Nov</c:v>
                  </c:pt>
                  <c:pt idx="256">
                    <c:v>15-Nov</c:v>
                  </c:pt>
                  <c:pt idx="257">
                    <c:v>16-Nov</c:v>
                  </c:pt>
                  <c:pt idx="258">
                    <c:v>17-Nov</c:v>
                  </c:pt>
                  <c:pt idx="259">
                    <c:v>18-Nov</c:v>
                  </c:pt>
                  <c:pt idx="260">
                    <c:v>19-Nov</c:v>
                  </c:pt>
                  <c:pt idx="261">
                    <c:v>20-Nov</c:v>
                  </c:pt>
                  <c:pt idx="262">
                    <c:v>21-Nov</c:v>
                  </c:pt>
                  <c:pt idx="263">
                    <c:v>22-Nov</c:v>
                  </c:pt>
                  <c:pt idx="264">
                    <c:v>23-Nov</c:v>
                  </c:pt>
                  <c:pt idx="265">
                    <c:v>24-Nov</c:v>
                  </c:pt>
                  <c:pt idx="266">
                    <c:v>25-Nov</c:v>
                  </c:pt>
                  <c:pt idx="267">
                    <c:v>26-Nov</c:v>
                  </c:pt>
                  <c:pt idx="268">
                    <c:v>27-Nov</c:v>
                  </c:pt>
                  <c:pt idx="269">
                    <c:v>28-Nov</c:v>
                  </c:pt>
                  <c:pt idx="270">
                    <c:v>29-Nov</c:v>
                  </c:pt>
                  <c:pt idx="271">
                    <c:v>30-Nov</c:v>
                  </c:pt>
                  <c:pt idx="272">
                    <c:v>01-Dec</c:v>
                  </c:pt>
                  <c:pt idx="273">
                    <c:v>02-Dec</c:v>
                  </c:pt>
                  <c:pt idx="274">
                    <c:v>03-Dec</c:v>
                  </c:pt>
                  <c:pt idx="275">
                    <c:v>04-Dec</c:v>
                  </c:pt>
                  <c:pt idx="276">
                    <c:v>05-Dec</c:v>
                  </c:pt>
                  <c:pt idx="277">
                    <c:v>06-Dec</c:v>
                  </c:pt>
                  <c:pt idx="278">
                    <c:v>07-Dec</c:v>
                  </c:pt>
                  <c:pt idx="279">
                    <c:v>08-Dec</c:v>
                  </c:pt>
                  <c:pt idx="280">
                    <c:v>09-Dec</c:v>
                  </c:pt>
                  <c:pt idx="281">
                    <c:v>10-Dec</c:v>
                  </c:pt>
                  <c:pt idx="282">
                    <c:v>11-Dec</c:v>
                  </c:pt>
                  <c:pt idx="283">
                    <c:v>12-Dec</c:v>
                  </c:pt>
                  <c:pt idx="284">
                    <c:v>13-Dec</c:v>
                  </c:pt>
                  <c:pt idx="285">
                    <c:v>14-Dec</c:v>
                  </c:pt>
                  <c:pt idx="286">
                    <c:v>15-Dec</c:v>
                  </c:pt>
                  <c:pt idx="287">
                    <c:v>16-Dec</c:v>
                  </c:pt>
                  <c:pt idx="288">
                    <c:v>17-Dec</c:v>
                  </c:pt>
                  <c:pt idx="289">
                    <c:v>18-Dec</c:v>
                  </c:pt>
                  <c:pt idx="290">
                    <c:v>19-Dec</c:v>
                  </c:pt>
                  <c:pt idx="291">
                    <c:v>20-Dec</c:v>
                  </c:pt>
                  <c:pt idx="292">
                    <c:v>21-Dec</c:v>
                  </c:pt>
                  <c:pt idx="293">
                    <c:v>22-Dec</c:v>
                  </c:pt>
                  <c:pt idx="294">
                    <c:v>23-Dec</c:v>
                  </c:pt>
                  <c:pt idx="295">
                    <c:v>24-Dec</c:v>
                  </c:pt>
                  <c:pt idx="296">
                    <c:v>25-Dec</c:v>
                  </c:pt>
                  <c:pt idx="297">
                    <c:v>26-Dec</c:v>
                  </c:pt>
                  <c:pt idx="298">
                    <c:v>27-Dec</c:v>
                  </c:pt>
                  <c:pt idx="299">
                    <c:v>28-Dec</c:v>
                  </c:pt>
                  <c:pt idx="300">
                    <c:v>29-Dec</c:v>
                  </c:pt>
                  <c:pt idx="301">
                    <c:v>30-Dec</c:v>
                  </c:pt>
                  <c:pt idx="302">
                    <c:v>31-Dec</c:v>
                  </c:pt>
                  <c:pt idx="303">
                    <c:v>01-Jan</c:v>
                  </c:pt>
                  <c:pt idx="304">
                    <c:v>02-Jan</c:v>
                  </c:pt>
                  <c:pt idx="305">
                    <c:v>03-Jan</c:v>
                  </c:pt>
                  <c:pt idx="306">
                    <c:v>04-Jan</c:v>
                  </c:pt>
                  <c:pt idx="307">
                    <c:v>05-Jan</c:v>
                  </c:pt>
                  <c:pt idx="308">
                    <c:v>06-Jan</c:v>
                  </c:pt>
                  <c:pt idx="309">
                    <c:v>07-Jan</c:v>
                  </c:pt>
                  <c:pt idx="310">
                    <c:v>08-Jan</c:v>
                  </c:pt>
                  <c:pt idx="311">
                    <c:v>09-Jan</c:v>
                  </c:pt>
                  <c:pt idx="312">
                    <c:v>10-Jan</c:v>
                  </c:pt>
                  <c:pt idx="313">
                    <c:v>11-Jan</c:v>
                  </c:pt>
                  <c:pt idx="314">
                    <c:v>12-Jan</c:v>
                  </c:pt>
                  <c:pt idx="315">
                    <c:v>13-Jan</c:v>
                  </c:pt>
                  <c:pt idx="316">
                    <c:v>14-Jan</c:v>
                  </c:pt>
                  <c:pt idx="317">
                    <c:v>15-Jan</c:v>
                  </c:pt>
                  <c:pt idx="318">
                    <c:v>16-Jan</c:v>
                  </c:pt>
                  <c:pt idx="319">
                    <c:v>17-Jan</c:v>
                  </c:pt>
                  <c:pt idx="320">
                    <c:v>18-Jan</c:v>
                  </c:pt>
                  <c:pt idx="321">
                    <c:v>19-Jan</c:v>
                  </c:pt>
                  <c:pt idx="322">
                    <c:v>20-Jan</c:v>
                  </c:pt>
                  <c:pt idx="323">
                    <c:v>21-Jan</c:v>
                  </c:pt>
                  <c:pt idx="324">
                    <c:v>22-Jan</c:v>
                  </c:pt>
                  <c:pt idx="325">
                    <c:v>23-Jan</c:v>
                  </c:pt>
                  <c:pt idx="326">
                    <c:v>24-Jan</c:v>
                  </c:pt>
                  <c:pt idx="327">
                    <c:v>25-Jan</c:v>
                  </c:pt>
                  <c:pt idx="328">
                    <c:v>26-Jan</c:v>
                  </c:pt>
                  <c:pt idx="329">
                    <c:v>27-Jan</c:v>
                  </c:pt>
                  <c:pt idx="330">
                    <c:v>28-Jan</c:v>
                  </c:pt>
                  <c:pt idx="331">
                    <c:v>29-Jan</c:v>
                  </c:pt>
                  <c:pt idx="332">
                    <c:v>30-Jan</c:v>
                  </c:pt>
                  <c:pt idx="333">
                    <c:v>31-Jan</c:v>
                  </c:pt>
                  <c:pt idx="334">
                    <c:v>01-Feb</c:v>
                  </c:pt>
                  <c:pt idx="335">
                    <c:v>02-Feb</c:v>
                  </c:pt>
                  <c:pt idx="336">
                    <c:v>03-Feb</c:v>
                  </c:pt>
                  <c:pt idx="337">
                    <c:v>04-Feb</c:v>
                  </c:pt>
                  <c:pt idx="338">
                    <c:v>05-Feb</c:v>
                  </c:pt>
                  <c:pt idx="339">
                    <c:v>06-Feb</c:v>
                  </c:pt>
                  <c:pt idx="340">
                    <c:v>07-Feb</c:v>
                  </c:pt>
                  <c:pt idx="341">
                    <c:v>08-Feb</c:v>
                  </c:pt>
                  <c:pt idx="342">
                    <c:v>09-Feb</c:v>
                  </c:pt>
                  <c:pt idx="343">
                    <c:v>10-Feb</c:v>
                  </c:pt>
                  <c:pt idx="344">
                    <c:v>11-Feb</c:v>
                  </c:pt>
                  <c:pt idx="345">
                    <c:v>12-Feb</c:v>
                  </c:pt>
                  <c:pt idx="346">
                    <c:v>13-Feb</c:v>
                  </c:pt>
                  <c:pt idx="347">
                    <c:v>14-Feb</c:v>
                  </c:pt>
                  <c:pt idx="348">
                    <c:v>15-Feb</c:v>
                  </c:pt>
                  <c:pt idx="349">
                    <c:v>16-Feb</c:v>
                  </c:pt>
                  <c:pt idx="350">
                    <c:v>17-Feb</c:v>
                  </c:pt>
                  <c:pt idx="351">
                    <c:v>18-Feb</c:v>
                  </c:pt>
                  <c:pt idx="352">
                    <c:v>19-Feb</c:v>
                  </c:pt>
                  <c:pt idx="353">
                    <c:v>20-Feb</c:v>
                  </c:pt>
                  <c:pt idx="354">
                    <c:v>21-Feb</c:v>
                  </c:pt>
                  <c:pt idx="355">
                    <c:v>22-Feb</c:v>
                  </c:pt>
                  <c:pt idx="356">
                    <c:v>23-Feb</c:v>
                  </c:pt>
                  <c:pt idx="357">
                    <c:v>24-Feb</c:v>
                  </c:pt>
                  <c:pt idx="358">
                    <c:v>25-Feb</c:v>
                  </c:pt>
                  <c:pt idx="359">
                    <c:v>26-Feb</c:v>
                  </c:pt>
                  <c:pt idx="360">
                    <c:v>27-Feb</c:v>
                  </c:pt>
                  <c:pt idx="361">
                    <c:v>28-Feb</c:v>
                  </c:pt>
                  <c:pt idx="362">
                    <c:v>01-Mar</c:v>
                  </c:pt>
                  <c:pt idx="363">
                    <c:v>02-Mar</c:v>
                  </c:pt>
                  <c:pt idx="364">
                    <c:v>03-Mar</c:v>
                  </c:pt>
                  <c:pt idx="365">
                    <c:v>04-Mar</c:v>
                  </c:pt>
                  <c:pt idx="366">
                    <c:v>05-Mar</c:v>
                  </c:pt>
                  <c:pt idx="367">
                    <c:v>06-Mar</c:v>
                  </c:pt>
                  <c:pt idx="368">
                    <c:v>07-Mar</c:v>
                  </c:pt>
                  <c:pt idx="369">
                    <c:v>08-Mar</c:v>
                  </c:pt>
                  <c:pt idx="370">
                    <c:v>09-Mar</c:v>
                  </c:pt>
                  <c:pt idx="371">
                    <c:v>10-Mar</c:v>
                  </c:pt>
                  <c:pt idx="372">
                    <c:v>11-Mar</c:v>
                  </c:pt>
                  <c:pt idx="373">
                    <c:v>12-Mar</c:v>
                  </c:pt>
                  <c:pt idx="374">
                    <c:v>13-Mar</c:v>
                  </c:pt>
                  <c:pt idx="375">
                    <c:v>14-Mar</c:v>
                  </c:pt>
                  <c:pt idx="376">
                    <c:v>15-Mar</c:v>
                  </c:pt>
                  <c:pt idx="377">
                    <c:v>16-Mar</c:v>
                  </c:pt>
                  <c:pt idx="378">
                    <c:v>17-Mar</c:v>
                  </c:pt>
                  <c:pt idx="379">
                    <c:v>18-Mar</c:v>
                  </c:pt>
                  <c:pt idx="380">
                    <c:v>19-Mar</c:v>
                  </c:pt>
                  <c:pt idx="381">
                    <c:v>20-Mar</c:v>
                  </c:pt>
                  <c:pt idx="382">
                    <c:v>21-Mar</c:v>
                  </c:pt>
                  <c:pt idx="383">
                    <c:v>22-Mar</c:v>
                  </c:pt>
                  <c:pt idx="384">
                    <c:v>23-Mar</c:v>
                  </c:pt>
                  <c:pt idx="385">
                    <c:v>24-Mar</c:v>
                  </c:pt>
                  <c:pt idx="386">
                    <c:v>25-Mar</c:v>
                  </c:pt>
                  <c:pt idx="387">
                    <c:v>26-Mar</c:v>
                  </c:pt>
                  <c:pt idx="388">
                    <c:v>27-Mar</c:v>
                  </c:pt>
                  <c:pt idx="389">
                    <c:v>28-Mar</c:v>
                  </c:pt>
                  <c:pt idx="390">
                    <c:v>29-Mar</c:v>
                  </c:pt>
                  <c:pt idx="391">
                    <c:v>30-Mar</c:v>
                  </c:pt>
                  <c:pt idx="392">
                    <c:v>31-Mar</c:v>
                  </c:pt>
                  <c:pt idx="393">
                    <c:v>01-Apr</c:v>
                  </c:pt>
                  <c:pt idx="394">
                    <c:v>02-Apr</c:v>
                  </c:pt>
                  <c:pt idx="395">
                    <c:v>03-Apr</c:v>
                  </c:pt>
                  <c:pt idx="396">
                    <c:v>04-Apr</c:v>
                  </c:pt>
                  <c:pt idx="397">
                    <c:v>05-Apr</c:v>
                  </c:pt>
                  <c:pt idx="398">
                    <c:v>06-Apr</c:v>
                  </c:pt>
                  <c:pt idx="399">
                    <c:v>07-Apr</c:v>
                  </c:pt>
                  <c:pt idx="400">
                    <c:v>08-Apr</c:v>
                  </c:pt>
                  <c:pt idx="401">
                    <c:v>09-Apr</c:v>
                  </c:pt>
                  <c:pt idx="402">
                    <c:v>10-Apr</c:v>
                  </c:pt>
                  <c:pt idx="403">
                    <c:v>11-Apr</c:v>
                  </c:pt>
                  <c:pt idx="404">
                    <c:v>12-Apr</c:v>
                  </c:pt>
                  <c:pt idx="405">
                    <c:v>13-Apr</c:v>
                  </c:pt>
                  <c:pt idx="406">
                    <c:v>14-Apr</c:v>
                  </c:pt>
                  <c:pt idx="407">
                    <c:v>15-Apr</c:v>
                  </c:pt>
                  <c:pt idx="408">
                    <c:v>16-Apr</c:v>
                  </c:pt>
                  <c:pt idx="409">
                    <c:v>17-Apr</c:v>
                  </c:pt>
                  <c:pt idx="410">
                    <c:v>18-Apr</c:v>
                  </c:pt>
                  <c:pt idx="411">
                    <c:v>19-Apr</c:v>
                  </c:pt>
                  <c:pt idx="412">
                    <c:v>20-Apr</c:v>
                  </c:pt>
                  <c:pt idx="413">
                    <c:v>21-Apr</c:v>
                  </c:pt>
                  <c:pt idx="414">
                    <c:v>22-Apr</c:v>
                  </c:pt>
                  <c:pt idx="415">
                    <c:v>23-Apr</c:v>
                  </c:pt>
                  <c:pt idx="416">
                    <c:v>24-Apr</c:v>
                  </c:pt>
                  <c:pt idx="417">
                    <c:v>25-Apr</c:v>
                  </c:pt>
                  <c:pt idx="418">
                    <c:v>26-Apr</c:v>
                  </c:pt>
                  <c:pt idx="419">
                    <c:v>27-Apr</c:v>
                  </c:pt>
                  <c:pt idx="420">
                    <c:v>28-Apr</c:v>
                  </c:pt>
                  <c:pt idx="421">
                    <c:v>29-Apr</c:v>
                  </c:pt>
                  <c:pt idx="422">
                    <c:v>30-Apr</c:v>
                  </c:pt>
                  <c:pt idx="423">
                    <c:v>01-May</c:v>
                  </c:pt>
                  <c:pt idx="424">
                    <c:v>02-May</c:v>
                  </c:pt>
                  <c:pt idx="425">
                    <c:v>03-May</c:v>
                  </c:pt>
                  <c:pt idx="426">
                    <c:v>04-May</c:v>
                  </c:pt>
                  <c:pt idx="427">
                    <c:v>05-May</c:v>
                  </c:pt>
                  <c:pt idx="428">
                    <c:v>06-May</c:v>
                  </c:pt>
                  <c:pt idx="429">
                    <c:v>07-May</c:v>
                  </c:pt>
                  <c:pt idx="430">
                    <c:v>08-May</c:v>
                  </c:pt>
                  <c:pt idx="431">
                    <c:v>09-May</c:v>
                  </c:pt>
                  <c:pt idx="432">
                    <c:v>10-May</c:v>
                  </c:pt>
                  <c:pt idx="433">
                    <c:v>11-May</c:v>
                  </c:pt>
                  <c:pt idx="434">
                    <c:v>12-May</c:v>
                  </c:pt>
                  <c:pt idx="435">
                    <c:v>13-May</c:v>
                  </c:pt>
                  <c:pt idx="436">
                    <c:v>14-May</c:v>
                  </c:pt>
                  <c:pt idx="437">
                    <c:v>15-May</c:v>
                  </c:pt>
                  <c:pt idx="438">
                    <c:v>16-May</c:v>
                  </c:pt>
                  <c:pt idx="439">
                    <c:v>17-May</c:v>
                  </c:pt>
                  <c:pt idx="440">
                    <c:v>18-May</c:v>
                  </c:pt>
                  <c:pt idx="441">
                    <c:v>19-May</c:v>
                  </c:pt>
                  <c:pt idx="442">
                    <c:v>20-May</c:v>
                  </c:pt>
                  <c:pt idx="443">
                    <c:v>21-May</c:v>
                  </c:pt>
                  <c:pt idx="444">
                    <c:v>22-May</c:v>
                  </c:pt>
                  <c:pt idx="445">
                    <c:v>23-May</c:v>
                  </c:pt>
                  <c:pt idx="446">
                    <c:v>24-May</c:v>
                  </c:pt>
                  <c:pt idx="447">
                    <c:v>25-May</c:v>
                  </c:pt>
                  <c:pt idx="448">
                    <c:v>26-May</c:v>
                  </c:pt>
                  <c:pt idx="449">
                    <c:v>27-May</c:v>
                  </c:pt>
                  <c:pt idx="450">
                    <c:v>28-May</c:v>
                  </c:pt>
                  <c:pt idx="451">
                    <c:v>29-May</c:v>
                  </c:pt>
                  <c:pt idx="452">
                    <c:v>30-May</c:v>
                  </c:pt>
                  <c:pt idx="453">
                    <c:v>31-May</c:v>
                  </c:pt>
                  <c:pt idx="454">
                    <c:v>01-Jun</c:v>
                  </c:pt>
                  <c:pt idx="455">
                    <c:v>02-Jun</c:v>
                  </c:pt>
                  <c:pt idx="456">
                    <c:v>03-Jun</c:v>
                  </c:pt>
                  <c:pt idx="457">
                    <c:v>04-Jun</c:v>
                  </c:pt>
                  <c:pt idx="458">
                    <c:v>05-Jun</c:v>
                  </c:pt>
                  <c:pt idx="459">
                    <c:v>06-Jun</c:v>
                  </c:pt>
                  <c:pt idx="460">
                    <c:v>07-Jun</c:v>
                  </c:pt>
                  <c:pt idx="461">
                    <c:v>08-Jun</c:v>
                  </c:pt>
                  <c:pt idx="462">
                    <c:v>09-Jun</c:v>
                  </c:pt>
                  <c:pt idx="463">
                    <c:v>10-Jun</c:v>
                  </c:pt>
                  <c:pt idx="464">
                    <c:v>11-Jun</c:v>
                  </c:pt>
                  <c:pt idx="465">
                    <c:v>12-Jun</c:v>
                  </c:pt>
                  <c:pt idx="466">
                    <c:v>13-Jun</c:v>
                  </c:pt>
                  <c:pt idx="467">
                    <c:v>14-Jun</c:v>
                  </c:pt>
                  <c:pt idx="468">
                    <c:v>15-Jun</c:v>
                  </c:pt>
                  <c:pt idx="469">
                    <c:v>16-Jun</c:v>
                  </c:pt>
                  <c:pt idx="470">
                    <c:v>17-Jun</c:v>
                  </c:pt>
                  <c:pt idx="471">
                    <c:v>18-Jun</c:v>
                  </c:pt>
                  <c:pt idx="472">
                    <c:v>19-Jun</c:v>
                  </c:pt>
                  <c:pt idx="473">
                    <c:v>20-Jun</c:v>
                  </c:pt>
                  <c:pt idx="474">
                    <c:v>21-Jun</c:v>
                  </c:pt>
                  <c:pt idx="475">
                    <c:v>22-Jun</c:v>
                  </c:pt>
                  <c:pt idx="476">
                    <c:v>23-Jun</c:v>
                  </c:pt>
                  <c:pt idx="477">
                    <c:v>24-Jun</c:v>
                  </c:pt>
                  <c:pt idx="478">
                    <c:v>25-Jun</c:v>
                  </c:pt>
                  <c:pt idx="479">
                    <c:v>26-Jun</c:v>
                  </c:pt>
                  <c:pt idx="480">
                    <c:v>27-Jun</c:v>
                  </c:pt>
                  <c:pt idx="481">
                    <c:v>28-Jun</c:v>
                  </c:pt>
                  <c:pt idx="482">
                    <c:v>29-Jun</c:v>
                  </c:pt>
                  <c:pt idx="483">
                    <c:v>30-Jun</c:v>
                  </c:pt>
                  <c:pt idx="484">
                    <c:v>01-Jul</c:v>
                  </c:pt>
                  <c:pt idx="485">
                    <c:v>02-Jul</c:v>
                  </c:pt>
                  <c:pt idx="486">
                    <c:v>03-Jul</c:v>
                  </c:pt>
                  <c:pt idx="487">
                    <c:v>04-Jul</c:v>
                  </c:pt>
                  <c:pt idx="488">
                    <c:v>05-Jul</c:v>
                  </c:pt>
                  <c:pt idx="489">
                    <c:v>06-Jul</c:v>
                  </c:pt>
                  <c:pt idx="490">
                    <c:v>07-Jul</c:v>
                  </c:pt>
                  <c:pt idx="491">
                    <c:v>08-Jul</c:v>
                  </c:pt>
                  <c:pt idx="492">
                    <c:v>09-Jul</c:v>
                  </c:pt>
                  <c:pt idx="493">
                    <c:v>10-Jul</c:v>
                  </c:pt>
                  <c:pt idx="494">
                    <c:v>11-Jul</c:v>
                  </c:pt>
                  <c:pt idx="495">
                    <c:v>12-Jul</c:v>
                  </c:pt>
                  <c:pt idx="496">
                    <c:v>13-Jul</c:v>
                  </c:pt>
                  <c:pt idx="497">
                    <c:v>14-Jul</c:v>
                  </c:pt>
                  <c:pt idx="498">
                    <c:v>15-Jul</c:v>
                  </c:pt>
                  <c:pt idx="499">
                    <c:v>16-Jul</c:v>
                  </c:pt>
                  <c:pt idx="500">
                    <c:v>17-Jul</c:v>
                  </c:pt>
                  <c:pt idx="501">
                    <c:v>18-Jul</c:v>
                  </c:pt>
                  <c:pt idx="502">
                    <c:v>19-Jul</c:v>
                  </c:pt>
                  <c:pt idx="503">
                    <c:v>20-Jul</c:v>
                  </c:pt>
                  <c:pt idx="504">
                    <c:v>21-Jul</c:v>
                  </c:pt>
                  <c:pt idx="505">
                    <c:v>22-Jul</c:v>
                  </c:pt>
                  <c:pt idx="506">
                    <c:v>23-Jul</c:v>
                  </c:pt>
                  <c:pt idx="507">
                    <c:v>24-Jul</c:v>
                  </c:pt>
                  <c:pt idx="508">
                    <c:v>25-Jul</c:v>
                  </c:pt>
                  <c:pt idx="509">
                    <c:v>26-Jul</c:v>
                  </c:pt>
                  <c:pt idx="510">
                    <c:v>27-Jul</c:v>
                  </c:pt>
                  <c:pt idx="511">
                    <c:v>28-Jul</c:v>
                  </c:pt>
                  <c:pt idx="512">
                    <c:v>29-Jul</c:v>
                  </c:pt>
                  <c:pt idx="513">
                    <c:v>30-Jul</c:v>
                  </c:pt>
                  <c:pt idx="514">
                    <c:v>31-Jul</c:v>
                  </c:pt>
                  <c:pt idx="515">
                    <c:v>01-Aug</c:v>
                  </c:pt>
                  <c:pt idx="516">
                    <c:v>02-Aug</c:v>
                  </c:pt>
                  <c:pt idx="517">
                    <c:v>03-Aug</c:v>
                  </c:pt>
                  <c:pt idx="518">
                    <c:v>04-Aug</c:v>
                  </c:pt>
                  <c:pt idx="519">
                    <c:v>05-Aug</c:v>
                  </c:pt>
                  <c:pt idx="520">
                    <c:v>06-Aug</c:v>
                  </c:pt>
                  <c:pt idx="521">
                    <c:v>07-Aug</c:v>
                  </c:pt>
                  <c:pt idx="522">
                    <c:v>08-Aug</c:v>
                  </c:pt>
                  <c:pt idx="523">
                    <c:v>09-Aug</c:v>
                  </c:pt>
                  <c:pt idx="524">
                    <c:v>10-Aug</c:v>
                  </c:pt>
                  <c:pt idx="525">
                    <c:v>11-Aug</c:v>
                  </c:pt>
                  <c:pt idx="526">
                    <c:v>12-Aug</c:v>
                  </c:pt>
                  <c:pt idx="527">
                    <c:v>13-Aug</c:v>
                  </c:pt>
                  <c:pt idx="528">
                    <c:v>14-Aug</c:v>
                  </c:pt>
                  <c:pt idx="529">
                    <c:v>15-Aug</c:v>
                  </c:pt>
                  <c:pt idx="530">
                    <c:v>16-Aug</c:v>
                  </c:pt>
                  <c:pt idx="531">
                    <c:v>17-Aug</c:v>
                  </c:pt>
                  <c:pt idx="532">
                    <c:v>18-Aug</c:v>
                  </c:pt>
                  <c:pt idx="533">
                    <c:v>19-Aug</c:v>
                  </c:pt>
                  <c:pt idx="534">
                    <c:v>20-Aug</c:v>
                  </c:pt>
                  <c:pt idx="535">
                    <c:v>21-Aug</c:v>
                  </c:pt>
                  <c:pt idx="536">
                    <c:v>22-Aug</c:v>
                  </c:pt>
                  <c:pt idx="537">
                    <c:v>23-Aug</c:v>
                  </c:pt>
                  <c:pt idx="538">
                    <c:v>24-Aug</c:v>
                  </c:pt>
                  <c:pt idx="539">
                    <c:v>25-Aug</c:v>
                  </c:pt>
                  <c:pt idx="540">
                    <c:v>26-Aug</c:v>
                  </c:pt>
                  <c:pt idx="541">
                    <c:v>27-Aug</c:v>
                  </c:pt>
                  <c:pt idx="542">
                    <c:v>28-Aug</c:v>
                  </c:pt>
                  <c:pt idx="543">
                    <c:v>29-Aug</c:v>
                  </c:pt>
                  <c:pt idx="544">
                    <c:v>30-Aug</c:v>
                  </c:pt>
                  <c:pt idx="545">
                    <c:v>31-Aug</c:v>
                  </c:pt>
                  <c:pt idx="546">
                    <c:v>01-Sep</c:v>
                  </c:pt>
                  <c:pt idx="547">
                    <c:v>02-Sep</c:v>
                  </c:pt>
                  <c:pt idx="548">
                    <c:v>03-Sep</c:v>
                  </c:pt>
                  <c:pt idx="549">
                    <c:v>04-Sep</c:v>
                  </c:pt>
                  <c:pt idx="550">
                    <c:v>05-Sep</c:v>
                  </c:pt>
                  <c:pt idx="551">
                    <c:v>06-Sep</c:v>
                  </c:pt>
                  <c:pt idx="552">
                    <c:v>07-Sep</c:v>
                  </c:pt>
                  <c:pt idx="553">
                    <c:v>08-Sep</c:v>
                  </c:pt>
                  <c:pt idx="554">
                    <c:v>09-Sep</c:v>
                  </c:pt>
                  <c:pt idx="555">
                    <c:v>10-Sep</c:v>
                  </c:pt>
                  <c:pt idx="556">
                    <c:v>11-Sep</c:v>
                  </c:pt>
                  <c:pt idx="557">
                    <c:v>12-Sep</c:v>
                  </c:pt>
                  <c:pt idx="558">
                    <c:v>13-Sep</c:v>
                  </c:pt>
                  <c:pt idx="559">
                    <c:v>14-Sep</c:v>
                  </c:pt>
                  <c:pt idx="560">
                    <c:v>15-Sep</c:v>
                  </c:pt>
                  <c:pt idx="561">
                    <c:v>16-Sep</c:v>
                  </c:pt>
                  <c:pt idx="562">
                    <c:v>17-Sep</c:v>
                  </c:pt>
                  <c:pt idx="563">
                    <c:v>18-Sep</c:v>
                  </c:pt>
                  <c:pt idx="564">
                    <c:v>19-Sep</c:v>
                  </c:pt>
                  <c:pt idx="565">
                    <c:v>20-Sep</c:v>
                  </c:pt>
                  <c:pt idx="566">
                    <c:v>21-Sep</c:v>
                  </c:pt>
                  <c:pt idx="567">
                    <c:v>22-Sep</c:v>
                  </c:pt>
                  <c:pt idx="568">
                    <c:v>23-Sep</c:v>
                  </c:pt>
                  <c:pt idx="569">
                    <c:v>24-Sep</c:v>
                  </c:pt>
                  <c:pt idx="570">
                    <c:v>25-Sep</c:v>
                  </c:pt>
                  <c:pt idx="571">
                    <c:v>26-Sep</c:v>
                  </c:pt>
                  <c:pt idx="572">
                    <c:v>27-Sep</c:v>
                  </c:pt>
                  <c:pt idx="573">
                    <c:v>28-Sep</c:v>
                  </c:pt>
                  <c:pt idx="574">
                    <c:v>29-Sep</c:v>
                  </c:pt>
                  <c:pt idx="575">
                    <c:v>30-Sep</c:v>
                  </c:pt>
                  <c:pt idx="576">
                    <c:v>01-Oct</c:v>
                  </c:pt>
                  <c:pt idx="577">
                    <c:v>02-Oct</c:v>
                  </c:pt>
                  <c:pt idx="578">
                    <c:v>03-Oct</c:v>
                  </c:pt>
                  <c:pt idx="579">
                    <c:v>04-Oct</c:v>
                  </c:pt>
                  <c:pt idx="580">
                    <c:v>05-Oct</c:v>
                  </c:pt>
                  <c:pt idx="581">
                    <c:v>06-Oct</c:v>
                  </c:pt>
                  <c:pt idx="582">
                    <c:v>07-Oct</c:v>
                  </c:pt>
                  <c:pt idx="583">
                    <c:v>08-Oct</c:v>
                  </c:pt>
                  <c:pt idx="584">
                    <c:v>09-Oct</c:v>
                  </c:pt>
                  <c:pt idx="585">
                    <c:v>10-Oct</c:v>
                  </c:pt>
                  <c:pt idx="586">
                    <c:v>11-Oct</c:v>
                  </c:pt>
                  <c:pt idx="587">
                    <c:v>12-Oct</c:v>
                  </c:pt>
                  <c:pt idx="588">
                    <c:v>13-Oct</c:v>
                  </c:pt>
                  <c:pt idx="589">
                    <c:v>14-Oct</c:v>
                  </c:pt>
                  <c:pt idx="590">
                    <c:v>15-Oct</c:v>
                  </c:pt>
                  <c:pt idx="591">
                    <c:v>16-Oct</c:v>
                  </c:pt>
                  <c:pt idx="592">
                    <c:v>17-Oct</c:v>
                  </c:pt>
                  <c:pt idx="593">
                    <c:v>18-Oct</c:v>
                  </c:pt>
                  <c:pt idx="594">
                    <c:v>19-Oct</c:v>
                  </c:pt>
                  <c:pt idx="595">
                    <c:v>20-Oct</c:v>
                  </c:pt>
                  <c:pt idx="596">
                    <c:v>21-Oct</c:v>
                  </c:pt>
                  <c:pt idx="597">
                    <c:v>22-Oct</c:v>
                  </c:pt>
                  <c:pt idx="598">
                    <c:v>23-Oct</c:v>
                  </c:pt>
                  <c:pt idx="599">
                    <c:v>24-Oct</c:v>
                  </c:pt>
                  <c:pt idx="600">
                    <c:v>25-Oct</c:v>
                  </c:pt>
                  <c:pt idx="601">
                    <c:v>26-Oct</c:v>
                  </c:pt>
                  <c:pt idx="602">
                    <c:v>27-Oct</c:v>
                  </c:pt>
                  <c:pt idx="603">
                    <c:v>28-Oct</c:v>
                  </c:pt>
                  <c:pt idx="604">
                    <c:v>29-Oct</c:v>
                  </c:pt>
                  <c:pt idx="605">
                    <c:v>30-Oct</c:v>
                  </c:pt>
                  <c:pt idx="606">
                    <c:v>31-Oct</c:v>
                  </c:pt>
                  <c:pt idx="607">
                    <c:v>01-Nov</c:v>
                  </c:pt>
                  <c:pt idx="608">
                    <c:v>02-Nov</c:v>
                  </c:pt>
                  <c:pt idx="609">
                    <c:v>03-Nov</c:v>
                  </c:pt>
                  <c:pt idx="610">
                    <c:v>04-Nov</c:v>
                  </c:pt>
                  <c:pt idx="611">
                    <c:v>05-Nov</c:v>
                  </c:pt>
                  <c:pt idx="612">
                    <c:v>06-Nov</c:v>
                  </c:pt>
                  <c:pt idx="613">
                    <c:v>07-Nov</c:v>
                  </c:pt>
                  <c:pt idx="614">
                    <c:v>08-Nov</c:v>
                  </c:pt>
                  <c:pt idx="615">
                    <c:v>09-Nov</c:v>
                  </c:pt>
                  <c:pt idx="616">
                    <c:v>10-Nov</c:v>
                  </c:pt>
                  <c:pt idx="617">
                    <c:v>11-Nov</c:v>
                  </c:pt>
                  <c:pt idx="618">
                    <c:v>12-Nov</c:v>
                  </c:pt>
                  <c:pt idx="619">
                    <c:v>13-Nov</c:v>
                  </c:pt>
                  <c:pt idx="620">
                    <c:v>14-Nov</c:v>
                  </c:pt>
                  <c:pt idx="621">
                    <c:v>15-Nov</c:v>
                  </c:pt>
                  <c:pt idx="622">
                    <c:v>16-Nov</c:v>
                  </c:pt>
                  <c:pt idx="623">
                    <c:v>17-Nov</c:v>
                  </c:pt>
                  <c:pt idx="624">
                    <c:v>18-Nov</c:v>
                  </c:pt>
                  <c:pt idx="625">
                    <c:v>19-Nov</c:v>
                  </c:pt>
                  <c:pt idx="626">
                    <c:v>20-Nov</c:v>
                  </c:pt>
                  <c:pt idx="627">
                    <c:v>21-Nov</c:v>
                  </c:pt>
                  <c:pt idx="628">
                    <c:v>22-Nov</c:v>
                  </c:pt>
                  <c:pt idx="629">
                    <c:v>23-Nov</c:v>
                  </c:pt>
                  <c:pt idx="630">
                    <c:v>24-Nov</c:v>
                  </c:pt>
                  <c:pt idx="631">
                    <c:v>25-Nov</c:v>
                  </c:pt>
                  <c:pt idx="632">
                    <c:v>26-Nov</c:v>
                  </c:pt>
                  <c:pt idx="633">
                    <c:v>27-Nov</c:v>
                  </c:pt>
                  <c:pt idx="634">
                    <c:v>28-Nov</c:v>
                  </c:pt>
                  <c:pt idx="635">
                    <c:v>29-Nov</c:v>
                  </c:pt>
                  <c:pt idx="636">
                    <c:v>30-Nov</c:v>
                  </c:pt>
                  <c:pt idx="637">
                    <c:v>01-Dec</c:v>
                  </c:pt>
                  <c:pt idx="638">
                    <c:v>02-Dec</c:v>
                  </c:pt>
                  <c:pt idx="639">
                    <c:v>03-Dec</c:v>
                  </c:pt>
                  <c:pt idx="640">
                    <c:v>04-Dec</c:v>
                  </c:pt>
                  <c:pt idx="641">
                    <c:v>05-Dec</c:v>
                  </c:pt>
                  <c:pt idx="642">
                    <c:v>06-Dec</c:v>
                  </c:pt>
                  <c:pt idx="643">
                    <c:v>07-Dec</c:v>
                  </c:pt>
                  <c:pt idx="644">
                    <c:v>08-Dec</c:v>
                  </c:pt>
                  <c:pt idx="645">
                    <c:v>09-Dec</c:v>
                  </c:pt>
                  <c:pt idx="646">
                    <c:v>10-Dec</c:v>
                  </c:pt>
                  <c:pt idx="647">
                    <c:v>11-Dec</c:v>
                  </c:pt>
                  <c:pt idx="648">
                    <c:v>12-Dec</c:v>
                  </c:pt>
                  <c:pt idx="649">
                    <c:v>13-Dec</c:v>
                  </c:pt>
                  <c:pt idx="650">
                    <c:v>14-Dec</c:v>
                  </c:pt>
                  <c:pt idx="651">
                    <c:v>15-Dec</c:v>
                  </c:pt>
                  <c:pt idx="652">
                    <c:v>16-Dec</c:v>
                  </c:pt>
                  <c:pt idx="653">
                    <c:v>17-Dec</c:v>
                  </c:pt>
                  <c:pt idx="654">
                    <c:v>18-Dec</c:v>
                  </c:pt>
                  <c:pt idx="655">
                    <c:v>19-Dec</c:v>
                  </c:pt>
                  <c:pt idx="656">
                    <c:v>20-Dec</c:v>
                  </c:pt>
                  <c:pt idx="657">
                    <c:v>21-Dec</c:v>
                  </c:pt>
                  <c:pt idx="658">
                    <c:v>22-Dec</c:v>
                  </c:pt>
                  <c:pt idx="659">
                    <c:v>23-Dec</c:v>
                  </c:pt>
                  <c:pt idx="660">
                    <c:v>24-Dec</c:v>
                  </c:pt>
                  <c:pt idx="661">
                    <c:v>25-Dec</c:v>
                  </c:pt>
                  <c:pt idx="662">
                    <c:v>26-Dec</c:v>
                  </c:pt>
                  <c:pt idx="663">
                    <c:v>27-Dec</c:v>
                  </c:pt>
                  <c:pt idx="664">
                    <c:v>28-Dec</c:v>
                  </c:pt>
                  <c:pt idx="665">
                    <c:v>29-Dec</c:v>
                  </c:pt>
                  <c:pt idx="666">
                    <c:v>30-Dec</c:v>
                  </c:pt>
                  <c:pt idx="667">
                    <c:v>31-Dec</c:v>
                  </c:pt>
                  <c:pt idx="668">
                    <c:v>01-Jan</c:v>
                  </c:pt>
                  <c:pt idx="669">
                    <c:v>02-Jan</c:v>
                  </c:pt>
                  <c:pt idx="670">
                    <c:v>03-Jan</c:v>
                  </c:pt>
                  <c:pt idx="671">
                    <c:v>04-Jan</c:v>
                  </c:pt>
                  <c:pt idx="672">
                    <c:v>05-Jan</c:v>
                  </c:pt>
                  <c:pt idx="673">
                    <c:v>06-Jan</c:v>
                  </c:pt>
                  <c:pt idx="674">
                    <c:v>07-Jan</c:v>
                  </c:pt>
                  <c:pt idx="675">
                    <c:v>08-Jan</c:v>
                  </c:pt>
                  <c:pt idx="676">
                    <c:v>09-Jan</c:v>
                  </c:pt>
                  <c:pt idx="677">
                    <c:v>10-Jan</c:v>
                  </c:pt>
                  <c:pt idx="678">
                    <c:v>11-Jan</c:v>
                  </c:pt>
                  <c:pt idx="679">
                    <c:v>12-Jan</c:v>
                  </c:pt>
                  <c:pt idx="680">
                    <c:v>13-Jan</c:v>
                  </c:pt>
                  <c:pt idx="681">
                    <c:v>14-Jan</c:v>
                  </c:pt>
                  <c:pt idx="682">
                    <c:v>15-Jan</c:v>
                  </c:pt>
                  <c:pt idx="683">
                    <c:v>16-Jan</c:v>
                  </c:pt>
                  <c:pt idx="684">
                    <c:v>17-Jan</c:v>
                  </c:pt>
                  <c:pt idx="685">
                    <c:v>18-Jan</c:v>
                  </c:pt>
                  <c:pt idx="686">
                    <c:v>19-Jan</c:v>
                  </c:pt>
                  <c:pt idx="687">
                    <c:v>20-Jan</c:v>
                  </c:pt>
                  <c:pt idx="688">
                    <c:v>21-Jan</c:v>
                  </c:pt>
                  <c:pt idx="689">
                    <c:v>22-Jan</c:v>
                  </c:pt>
                  <c:pt idx="690">
                    <c:v>23-Jan</c:v>
                  </c:pt>
                  <c:pt idx="691">
                    <c:v>24-Jan</c:v>
                  </c:pt>
                  <c:pt idx="692">
                    <c:v>25-Jan</c:v>
                  </c:pt>
                  <c:pt idx="693">
                    <c:v>26-Jan</c:v>
                  </c:pt>
                  <c:pt idx="694">
                    <c:v>27-Jan</c:v>
                  </c:pt>
                  <c:pt idx="695">
                    <c:v>28-Jan</c:v>
                  </c:pt>
                  <c:pt idx="696">
                    <c:v>29-Jan</c:v>
                  </c:pt>
                  <c:pt idx="697">
                    <c:v>30-Jan</c:v>
                  </c:pt>
                  <c:pt idx="698">
                    <c:v>31-Jan</c:v>
                  </c:pt>
                  <c:pt idx="699">
                    <c:v>01-Feb</c:v>
                  </c:pt>
                  <c:pt idx="700">
                    <c:v>02-Feb</c:v>
                  </c:pt>
                  <c:pt idx="701">
                    <c:v>03-Feb</c:v>
                  </c:pt>
                  <c:pt idx="702">
                    <c:v>04-Feb</c:v>
                  </c:pt>
                  <c:pt idx="703">
                    <c:v>05-Feb</c:v>
                  </c:pt>
                  <c:pt idx="704">
                    <c:v>06-Feb</c:v>
                  </c:pt>
                  <c:pt idx="705">
                    <c:v>07-Feb</c:v>
                  </c:pt>
                  <c:pt idx="706">
                    <c:v>08-Feb</c:v>
                  </c:pt>
                  <c:pt idx="707">
                    <c:v>09-Feb</c:v>
                  </c:pt>
                  <c:pt idx="708">
                    <c:v>10-Feb</c:v>
                  </c:pt>
                  <c:pt idx="709">
                    <c:v>11-Feb</c:v>
                  </c:pt>
                  <c:pt idx="710">
                    <c:v>12-Feb</c:v>
                  </c:pt>
                  <c:pt idx="711">
                    <c:v>13-Feb</c:v>
                  </c:pt>
                  <c:pt idx="712">
                    <c:v>14-Feb</c:v>
                  </c:pt>
                  <c:pt idx="713">
                    <c:v>15-Feb</c:v>
                  </c:pt>
                  <c:pt idx="714">
                    <c:v>16-Feb</c:v>
                  </c:pt>
                  <c:pt idx="715">
                    <c:v>17-Feb</c:v>
                  </c:pt>
                  <c:pt idx="716">
                    <c:v>18-Feb</c:v>
                  </c:pt>
                  <c:pt idx="717">
                    <c:v>19-Feb</c:v>
                  </c:pt>
                  <c:pt idx="718">
                    <c:v>20-Feb</c:v>
                  </c:pt>
                  <c:pt idx="719">
                    <c:v>21-Feb</c:v>
                  </c:pt>
                  <c:pt idx="720">
                    <c:v>22-Feb</c:v>
                  </c:pt>
                  <c:pt idx="721">
                    <c:v>23-Feb</c:v>
                  </c:pt>
                  <c:pt idx="722">
                    <c:v>24-Feb</c:v>
                  </c:pt>
                  <c:pt idx="723">
                    <c:v>25-Feb</c:v>
                  </c:pt>
                  <c:pt idx="724">
                    <c:v>26-Feb</c:v>
                  </c:pt>
                  <c:pt idx="725">
                    <c:v>27-Feb</c:v>
                  </c:pt>
                  <c:pt idx="726">
                    <c:v>28-Feb</c:v>
                  </c:pt>
                  <c:pt idx="727">
                    <c:v>01-Mar</c:v>
                  </c:pt>
                  <c:pt idx="728">
                    <c:v>02-Mar</c:v>
                  </c:pt>
                  <c:pt idx="729">
                    <c:v>03-Mar</c:v>
                  </c:pt>
                  <c:pt idx="730">
                    <c:v>04-Mar</c:v>
                  </c:pt>
                  <c:pt idx="731">
                    <c:v>05-Mar</c:v>
                  </c:pt>
                  <c:pt idx="732">
                    <c:v>06-Mar</c:v>
                  </c:pt>
                  <c:pt idx="733">
                    <c:v>07-Mar</c:v>
                  </c:pt>
                  <c:pt idx="734">
                    <c:v>08-Mar</c:v>
                  </c:pt>
                  <c:pt idx="735">
                    <c:v>09-Mar</c:v>
                  </c:pt>
                  <c:pt idx="736">
                    <c:v>10-Mar</c:v>
                  </c:pt>
                  <c:pt idx="737">
                    <c:v>11-Mar</c:v>
                  </c:pt>
                  <c:pt idx="738">
                    <c:v>12-Mar</c:v>
                  </c:pt>
                  <c:pt idx="739">
                    <c:v>13-Mar</c:v>
                  </c:pt>
                  <c:pt idx="740">
                    <c:v>14-Mar</c:v>
                  </c:pt>
                  <c:pt idx="741">
                    <c:v>15-Mar</c:v>
                  </c:pt>
                  <c:pt idx="742">
                    <c:v>16-Mar</c:v>
                  </c:pt>
                  <c:pt idx="743">
                    <c:v>17-Mar</c:v>
                  </c:pt>
                  <c:pt idx="744">
                    <c:v>18-Mar</c:v>
                  </c:pt>
                  <c:pt idx="745">
                    <c:v>19-Mar</c:v>
                  </c:pt>
                  <c:pt idx="746">
                    <c:v>20-Mar</c:v>
                  </c:pt>
                  <c:pt idx="747">
                    <c:v>21-Mar</c:v>
                  </c:pt>
                  <c:pt idx="748">
                    <c:v>22-Mar</c:v>
                  </c:pt>
                  <c:pt idx="749">
                    <c:v>23-Mar</c:v>
                  </c:pt>
                  <c:pt idx="750">
                    <c:v>24-Mar</c:v>
                  </c:pt>
                  <c:pt idx="751">
                    <c:v>25-Mar</c:v>
                  </c:pt>
                  <c:pt idx="752">
                    <c:v>26-Mar</c:v>
                  </c:pt>
                  <c:pt idx="753">
                    <c:v>27-Mar</c:v>
                  </c:pt>
                  <c:pt idx="754">
                    <c:v>28-Mar</c:v>
                  </c:pt>
                  <c:pt idx="755">
                    <c:v>29-Mar</c:v>
                  </c:pt>
                  <c:pt idx="756">
                    <c:v>30-Mar</c:v>
                  </c:pt>
                  <c:pt idx="757">
                    <c:v>31-Mar</c:v>
                  </c:pt>
                  <c:pt idx="758">
                    <c:v>01-Apr</c:v>
                  </c:pt>
                  <c:pt idx="759">
                    <c:v>02-Apr</c:v>
                  </c:pt>
                  <c:pt idx="760">
                    <c:v>03-Apr</c:v>
                  </c:pt>
                  <c:pt idx="761">
                    <c:v>04-Apr</c:v>
                  </c:pt>
                  <c:pt idx="762">
                    <c:v>05-Apr</c:v>
                  </c:pt>
                  <c:pt idx="763">
                    <c:v>06-Apr</c:v>
                  </c:pt>
                  <c:pt idx="764">
                    <c:v>07-Apr</c:v>
                  </c:pt>
                  <c:pt idx="765">
                    <c:v>08-Apr</c:v>
                  </c:pt>
                  <c:pt idx="766">
                    <c:v>09-Apr</c:v>
                  </c:pt>
                  <c:pt idx="767">
                    <c:v>10-Apr</c:v>
                  </c:pt>
                  <c:pt idx="768">
                    <c:v>11-Apr</c:v>
                  </c:pt>
                  <c:pt idx="769">
                    <c:v>12-Apr</c:v>
                  </c:pt>
                  <c:pt idx="770">
                    <c:v>13-Apr</c:v>
                  </c:pt>
                  <c:pt idx="771">
                    <c:v>14-Apr</c:v>
                  </c:pt>
                  <c:pt idx="772">
                    <c:v>15-Apr</c:v>
                  </c:pt>
                  <c:pt idx="773">
                    <c:v>16-Apr</c:v>
                  </c:pt>
                  <c:pt idx="774">
                    <c:v>17-Apr</c:v>
                  </c:pt>
                  <c:pt idx="775">
                    <c:v>18-Apr</c:v>
                  </c:pt>
                  <c:pt idx="776">
                    <c:v>19-Apr</c:v>
                  </c:pt>
                  <c:pt idx="777">
                    <c:v>20-Apr</c:v>
                  </c:pt>
                  <c:pt idx="778">
                    <c:v>21-Apr</c:v>
                  </c:pt>
                  <c:pt idx="779">
                    <c:v>22-Apr</c:v>
                  </c:pt>
                  <c:pt idx="780">
                    <c:v>23-Apr</c:v>
                  </c:pt>
                  <c:pt idx="781">
                    <c:v>24-Apr</c:v>
                  </c:pt>
                  <c:pt idx="782">
                    <c:v>25-Apr</c:v>
                  </c:pt>
                  <c:pt idx="783">
                    <c:v>26-Apr</c:v>
                  </c:pt>
                  <c:pt idx="784">
                    <c:v>27-Apr</c:v>
                  </c:pt>
                  <c:pt idx="785">
                    <c:v>28-Apr</c:v>
                  </c:pt>
                  <c:pt idx="786">
                    <c:v>29-Apr</c:v>
                  </c:pt>
                  <c:pt idx="787">
                    <c:v>30-Apr</c:v>
                  </c:pt>
                  <c:pt idx="788">
                    <c:v>01-May</c:v>
                  </c:pt>
                  <c:pt idx="789">
                    <c:v>02-May</c:v>
                  </c:pt>
                  <c:pt idx="790">
                    <c:v>03-May</c:v>
                  </c:pt>
                  <c:pt idx="791">
                    <c:v>04-May</c:v>
                  </c:pt>
                  <c:pt idx="792">
                    <c:v>05-May</c:v>
                  </c:pt>
                  <c:pt idx="793">
                    <c:v>06-May</c:v>
                  </c:pt>
                  <c:pt idx="794">
                    <c:v>07-May</c:v>
                  </c:pt>
                  <c:pt idx="795">
                    <c:v>08-May</c:v>
                  </c:pt>
                  <c:pt idx="796">
                    <c:v>09-May</c:v>
                  </c:pt>
                  <c:pt idx="797">
                    <c:v>10-May</c:v>
                  </c:pt>
                  <c:pt idx="798">
                    <c:v>11-May</c:v>
                  </c:pt>
                  <c:pt idx="799">
                    <c:v>12-May</c:v>
                  </c:pt>
                  <c:pt idx="800">
                    <c:v>13-May</c:v>
                  </c:pt>
                  <c:pt idx="801">
                    <c:v>14-May</c:v>
                  </c:pt>
                  <c:pt idx="802">
                    <c:v>15-May</c:v>
                  </c:pt>
                  <c:pt idx="803">
                    <c:v>16-May</c:v>
                  </c:pt>
                  <c:pt idx="804">
                    <c:v>17-May</c:v>
                  </c:pt>
                  <c:pt idx="805">
                    <c:v>18-May</c:v>
                  </c:pt>
                  <c:pt idx="806">
                    <c:v>19-May</c:v>
                  </c:pt>
                  <c:pt idx="807">
                    <c:v>20-May</c:v>
                  </c:pt>
                  <c:pt idx="808">
                    <c:v>21-May</c:v>
                  </c:pt>
                  <c:pt idx="809">
                    <c:v>22-May</c:v>
                  </c:pt>
                  <c:pt idx="810">
                    <c:v>23-May</c:v>
                  </c:pt>
                  <c:pt idx="811">
                    <c:v>24-May</c:v>
                  </c:pt>
                  <c:pt idx="812">
                    <c:v>25-May</c:v>
                  </c:pt>
                  <c:pt idx="813">
                    <c:v>26-May</c:v>
                  </c:pt>
                  <c:pt idx="814">
                    <c:v>27-May</c:v>
                  </c:pt>
                  <c:pt idx="815">
                    <c:v>28-May</c:v>
                  </c:pt>
                  <c:pt idx="816">
                    <c:v>29-May</c:v>
                  </c:pt>
                  <c:pt idx="817">
                    <c:v>30-May</c:v>
                  </c:pt>
                  <c:pt idx="818">
                    <c:v>31-May</c:v>
                  </c:pt>
                  <c:pt idx="819">
                    <c:v>01-Jun</c:v>
                  </c:pt>
                  <c:pt idx="820">
                    <c:v>02-Jun</c:v>
                  </c:pt>
                  <c:pt idx="821">
                    <c:v>03-Jun</c:v>
                  </c:pt>
                  <c:pt idx="822">
                    <c:v>04-Jun</c:v>
                  </c:pt>
                  <c:pt idx="823">
                    <c:v>05-Jun</c:v>
                  </c:pt>
                  <c:pt idx="824">
                    <c:v>06-Jun</c:v>
                  </c:pt>
                  <c:pt idx="825">
                    <c:v>07-Jun</c:v>
                  </c:pt>
                  <c:pt idx="826">
                    <c:v>08-Jun</c:v>
                  </c:pt>
                  <c:pt idx="827">
                    <c:v>09-Jun</c:v>
                  </c:pt>
                  <c:pt idx="828">
                    <c:v>10-Jun</c:v>
                  </c:pt>
                  <c:pt idx="829">
                    <c:v>11-Jun</c:v>
                  </c:pt>
                  <c:pt idx="830">
                    <c:v>12-Jun</c:v>
                  </c:pt>
                  <c:pt idx="831">
                    <c:v>13-Jun</c:v>
                  </c:pt>
                  <c:pt idx="832">
                    <c:v>14-Jun</c:v>
                  </c:pt>
                  <c:pt idx="833">
                    <c:v>15-Jun</c:v>
                  </c:pt>
                  <c:pt idx="834">
                    <c:v>16-Jun</c:v>
                  </c:pt>
                  <c:pt idx="835">
                    <c:v>17-Jun</c:v>
                  </c:pt>
                  <c:pt idx="836">
                    <c:v>18-Jun</c:v>
                  </c:pt>
                  <c:pt idx="837">
                    <c:v>19-Jun</c:v>
                  </c:pt>
                  <c:pt idx="838">
                    <c:v>20-Jun</c:v>
                  </c:pt>
                  <c:pt idx="839">
                    <c:v>21-Jun</c:v>
                  </c:pt>
                  <c:pt idx="840">
                    <c:v>22-Jun</c:v>
                  </c:pt>
                  <c:pt idx="841">
                    <c:v>23-Jun</c:v>
                  </c:pt>
                  <c:pt idx="842">
                    <c:v>24-Jun</c:v>
                  </c:pt>
                  <c:pt idx="843">
                    <c:v>25-Jun</c:v>
                  </c:pt>
                  <c:pt idx="844">
                    <c:v>26-Jun</c:v>
                  </c:pt>
                  <c:pt idx="845">
                    <c:v>27-Jun</c:v>
                  </c:pt>
                  <c:pt idx="846">
                    <c:v>28-Jun</c:v>
                  </c:pt>
                  <c:pt idx="847">
                    <c:v>29-Jun</c:v>
                  </c:pt>
                  <c:pt idx="848">
                    <c:v>30-Jun</c:v>
                  </c:pt>
                  <c:pt idx="849">
                    <c:v>01-Jul</c:v>
                  </c:pt>
                  <c:pt idx="850">
                    <c:v>02-Jul</c:v>
                  </c:pt>
                  <c:pt idx="851">
                    <c:v>03-Jul</c:v>
                  </c:pt>
                  <c:pt idx="852">
                    <c:v>04-Jul</c:v>
                  </c:pt>
                  <c:pt idx="853">
                    <c:v>05-Jul</c:v>
                  </c:pt>
                  <c:pt idx="854">
                    <c:v>06-Jul</c:v>
                  </c:pt>
                  <c:pt idx="855">
                    <c:v>07-Jul</c:v>
                  </c:pt>
                  <c:pt idx="856">
                    <c:v>08-Jul</c:v>
                  </c:pt>
                  <c:pt idx="857">
                    <c:v>09-Jul</c:v>
                  </c:pt>
                  <c:pt idx="858">
                    <c:v>10-Jul</c:v>
                  </c:pt>
                  <c:pt idx="859">
                    <c:v>11-Jul</c:v>
                  </c:pt>
                  <c:pt idx="860">
                    <c:v>12-Jul</c:v>
                  </c:pt>
                  <c:pt idx="861">
                    <c:v>13-Jul</c:v>
                  </c:pt>
                  <c:pt idx="862">
                    <c:v>14-Jul</c:v>
                  </c:pt>
                  <c:pt idx="863">
                    <c:v>15-Jul</c:v>
                  </c:pt>
                  <c:pt idx="864">
                    <c:v>16-Jul</c:v>
                  </c:pt>
                  <c:pt idx="865">
                    <c:v>17-Jul</c:v>
                  </c:pt>
                  <c:pt idx="866">
                    <c:v>18-Jul</c:v>
                  </c:pt>
                  <c:pt idx="867">
                    <c:v>19-Jul</c:v>
                  </c:pt>
                  <c:pt idx="868">
                    <c:v>20-Jul</c:v>
                  </c:pt>
                  <c:pt idx="869">
                    <c:v>21-Jul</c:v>
                  </c:pt>
                  <c:pt idx="870">
                    <c:v>22-Jul</c:v>
                  </c:pt>
                  <c:pt idx="871">
                    <c:v>23-Jul</c:v>
                  </c:pt>
                  <c:pt idx="872">
                    <c:v>24-Jul</c:v>
                  </c:pt>
                  <c:pt idx="873">
                    <c:v>25-Jul</c:v>
                  </c:pt>
                  <c:pt idx="874">
                    <c:v>26-Jul</c:v>
                  </c:pt>
                  <c:pt idx="875">
                    <c:v>27-Jul</c:v>
                  </c:pt>
                  <c:pt idx="876">
                    <c:v>28-Jul</c:v>
                  </c:pt>
                  <c:pt idx="877">
                    <c:v>29-Jul</c:v>
                  </c:pt>
                  <c:pt idx="878">
                    <c:v>30-Jul</c:v>
                  </c:pt>
                  <c:pt idx="879">
                    <c:v>31-Jul</c:v>
                  </c:pt>
                  <c:pt idx="880">
                    <c:v>01-Aug</c:v>
                  </c:pt>
                  <c:pt idx="881">
                    <c:v>02-Aug</c:v>
                  </c:pt>
                  <c:pt idx="882">
                    <c:v>03-Aug</c:v>
                  </c:pt>
                  <c:pt idx="883">
                    <c:v>04-Aug</c:v>
                  </c:pt>
                  <c:pt idx="884">
                    <c:v>05-Aug</c:v>
                  </c:pt>
                  <c:pt idx="885">
                    <c:v>06-Aug</c:v>
                  </c:pt>
                  <c:pt idx="886">
                    <c:v>07-Aug</c:v>
                  </c:pt>
                  <c:pt idx="887">
                    <c:v>08-Aug</c:v>
                  </c:pt>
                  <c:pt idx="888">
                    <c:v>09-Aug</c:v>
                  </c:pt>
                  <c:pt idx="889">
                    <c:v>10-Aug</c:v>
                  </c:pt>
                  <c:pt idx="890">
                    <c:v>11-Aug</c:v>
                  </c:pt>
                  <c:pt idx="891">
                    <c:v>12-Aug</c:v>
                  </c:pt>
                  <c:pt idx="892">
                    <c:v>13-Aug</c:v>
                  </c:pt>
                  <c:pt idx="893">
                    <c:v>14-Aug</c:v>
                  </c:pt>
                  <c:pt idx="894">
                    <c:v>15-Aug</c:v>
                  </c:pt>
                  <c:pt idx="895">
                    <c:v>16-Aug</c:v>
                  </c:pt>
                  <c:pt idx="896">
                    <c:v>17-Aug</c:v>
                  </c:pt>
                  <c:pt idx="897">
                    <c:v>18-Aug</c:v>
                  </c:pt>
                  <c:pt idx="898">
                    <c:v>19-Aug</c:v>
                  </c:pt>
                  <c:pt idx="899">
                    <c:v>20-Aug</c:v>
                  </c:pt>
                  <c:pt idx="900">
                    <c:v>21-Aug</c:v>
                  </c:pt>
                  <c:pt idx="901">
                    <c:v>22-Aug</c:v>
                  </c:pt>
                  <c:pt idx="902">
                    <c:v>23-Aug</c:v>
                  </c:pt>
                  <c:pt idx="903">
                    <c:v>24-Aug</c:v>
                  </c:pt>
                  <c:pt idx="904">
                    <c:v>25-Aug</c:v>
                  </c:pt>
                  <c:pt idx="905">
                    <c:v>26-Aug</c:v>
                  </c:pt>
                  <c:pt idx="906">
                    <c:v>27-Aug</c:v>
                  </c:pt>
                  <c:pt idx="907">
                    <c:v>28-Aug</c:v>
                  </c:pt>
                  <c:pt idx="908">
                    <c:v>29-Aug</c:v>
                  </c:pt>
                  <c:pt idx="909">
                    <c:v>30-Aug</c:v>
                  </c:pt>
                  <c:pt idx="910">
                    <c:v>31-Aug</c:v>
                  </c:pt>
                  <c:pt idx="911">
                    <c:v>01-Sep</c:v>
                  </c:pt>
                  <c:pt idx="912">
                    <c:v>02-Sep</c:v>
                  </c:pt>
                  <c:pt idx="913">
                    <c:v>03-Sep</c:v>
                  </c:pt>
                  <c:pt idx="914">
                    <c:v>04-Sep</c:v>
                  </c:pt>
                  <c:pt idx="915">
                    <c:v>05-Sep</c:v>
                  </c:pt>
                  <c:pt idx="916">
                    <c:v>06-Sep</c:v>
                  </c:pt>
                  <c:pt idx="917">
                    <c:v>07-Sep</c:v>
                  </c:pt>
                  <c:pt idx="918">
                    <c:v>08-Sep</c:v>
                  </c:pt>
                  <c:pt idx="919">
                    <c:v>09-Sep</c:v>
                  </c:pt>
                  <c:pt idx="920">
                    <c:v>10-Sep</c:v>
                  </c:pt>
                  <c:pt idx="921">
                    <c:v>11-Sep</c:v>
                  </c:pt>
                  <c:pt idx="922">
                    <c:v>12-Sep</c:v>
                  </c:pt>
                  <c:pt idx="923">
                    <c:v>13-Sep</c:v>
                  </c:pt>
                  <c:pt idx="924">
                    <c:v>14-Sep</c:v>
                  </c:pt>
                  <c:pt idx="925">
                    <c:v>15-Sep</c:v>
                  </c:pt>
                  <c:pt idx="926">
                    <c:v>16-Sep</c:v>
                  </c:pt>
                  <c:pt idx="927">
                    <c:v>17-Sep</c:v>
                  </c:pt>
                  <c:pt idx="928">
                    <c:v>18-Sep</c:v>
                  </c:pt>
                  <c:pt idx="929">
                    <c:v>19-Sep</c:v>
                  </c:pt>
                  <c:pt idx="930">
                    <c:v>20-Sep</c:v>
                  </c:pt>
                  <c:pt idx="931">
                    <c:v>21-Sep</c:v>
                  </c:pt>
                  <c:pt idx="932">
                    <c:v>22-Sep</c:v>
                  </c:pt>
                  <c:pt idx="933">
                    <c:v>23-Sep</c:v>
                  </c:pt>
                  <c:pt idx="934">
                    <c:v>24-Sep</c:v>
                  </c:pt>
                  <c:pt idx="935">
                    <c:v>25-Sep</c:v>
                  </c:pt>
                  <c:pt idx="936">
                    <c:v>26-Sep</c:v>
                  </c:pt>
                  <c:pt idx="937">
                    <c:v>27-Sep</c:v>
                  </c:pt>
                  <c:pt idx="938">
                    <c:v>28-Sep</c:v>
                  </c:pt>
                  <c:pt idx="939">
                    <c:v>29-Sep</c:v>
                  </c:pt>
                  <c:pt idx="940">
                    <c:v>30-Sep</c:v>
                  </c:pt>
                  <c:pt idx="941">
                    <c:v>01-Oct</c:v>
                  </c:pt>
                  <c:pt idx="942">
                    <c:v>02-Oct</c:v>
                  </c:pt>
                  <c:pt idx="943">
                    <c:v>03-Oct</c:v>
                  </c:pt>
                  <c:pt idx="944">
                    <c:v>04-Oct</c:v>
                  </c:pt>
                  <c:pt idx="945">
                    <c:v>05-Oct</c:v>
                  </c:pt>
                  <c:pt idx="946">
                    <c:v>06-Oct</c:v>
                  </c:pt>
                  <c:pt idx="947">
                    <c:v>07-Oct</c:v>
                  </c:pt>
                  <c:pt idx="948">
                    <c:v>08-Oct</c:v>
                  </c:pt>
                  <c:pt idx="949">
                    <c:v>09-Oct</c:v>
                  </c:pt>
                  <c:pt idx="950">
                    <c:v>10-Oct</c:v>
                  </c:pt>
                  <c:pt idx="951">
                    <c:v>11-Oct</c:v>
                  </c:pt>
                  <c:pt idx="952">
                    <c:v>12-Oct</c:v>
                  </c:pt>
                  <c:pt idx="953">
                    <c:v>13-Oct</c:v>
                  </c:pt>
                  <c:pt idx="954">
                    <c:v>14-Oct</c:v>
                  </c:pt>
                  <c:pt idx="955">
                    <c:v>15-Oct</c:v>
                  </c:pt>
                  <c:pt idx="956">
                    <c:v>16-Oct</c:v>
                  </c:pt>
                  <c:pt idx="957">
                    <c:v>17-Oct</c:v>
                  </c:pt>
                  <c:pt idx="958">
                    <c:v>18-Oct</c:v>
                  </c:pt>
                  <c:pt idx="959">
                    <c:v>19-Oct</c:v>
                  </c:pt>
                  <c:pt idx="960">
                    <c:v>20-Oct</c:v>
                  </c:pt>
                  <c:pt idx="961">
                    <c:v>21-Oct</c:v>
                  </c:pt>
                  <c:pt idx="962">
                    <c:v>22-Oct</c:v>
                  </c:pt>
                  <c:pt idx="963">
                    <c:v>23-Oct</c:v>
                  </c:pt>
                  <c:pt idx="964">
                    <c:v>24-Oct</c:v>
                  </c:pt>
                  <c:pt idx="965">
                    <c:v>25-Oct</c:v>
                  </c:pt>
                  <c:pt idx="966">
                    <c:v>26-Oct</c:v>
                  </c:pt>
                  <c:pt idx="967">
                    <c:v>27-Oct</c:v>
                  </c:pt>
                  <c:pt idx="968">
                    <c:v>28-Oct</c:v>
                  </c:pt>
                  <c:pt idx="969">
                    <c:v>29-Oct</c:v>
                  </c:pt>
                  <c:pt idx="970">
                    <c:v>30-Oct</c:v>
                  </c:pt>
                  <c:pt idx="971">
                    <c:v>31-Oct</c:v>
                  </c:pt>
                  <c:pt idx="972">
                    <c:v>01-Nov</c:v>
                  </c:pt>
                  <c:pt idx="973">
                    <c:v>02-Nov</c:v>
                  </c:pt>
                  <c:pt idx="974">
                    <c:v>03-Nov</c:v>
                  </c:pt>
                  <c:pt idx="975">
                    <c:v>04-Nov</c:v>
                  </c:pt>
                  <c:pt idx="976">
                    <c:v>05-Nov</c:v>
                  </c:pt>
                  <c:pt idx="977">
                    <c:v>06-Nov</c:v>
                  </c:pt>
                  <c:pt idx="978">
                    <c:v>07-Nov</c:v>
                  </c:pt>
                  <c:pt idx="979">
                    <c:v>08-Nov</c:v>
                  </c:pt>
                  <c:pt idx="980">
                    <c:v>09-Nov</c:v>
                  </c:pt>
                  <c:pt idx="981">
                    <c:v>10-Nov</c:v>
                  </c:pt>
                  <c:pt idx="982">
                    <c:v>11-Nov</c:v>
                  </c:pt>
                  <c:pt idx="983">
                    <c:v>12-Nov</c:v>
                  </c:pt>
                  <c:pt idx="984">
                    <c:v>13-Nov</c:v>
                  </c:pt>
                  <c:pt idx="985">
                    <c:v>14-Nov</c:v>
                  </c:pt>
                  <c:pt idx="986">
                    <c:v>15-Nov</c:v>
                  </c:pt>
                  <c:pt idx="987">
                    <c:v>16-Nov</c:v>
                  </c:pt>
                  <c:pt idx="988">
                    <c:v>17-Nov</c:v>
                  </c:pt>
                  <c:pt idx="989">
                    <c:v>18-Nov</c:v>
                  </c:pt>
                  <c:pt idx="990">
                    <c:v>19-Nov</c:v>
                  </c:pt>
                </c:lvl>
                <c:lvl>
                  <c:pt idx="0">
                    <c:v>2020</c:v>
                  </c:pt>
                  <c:pt idx="303">
                    <c:v>2021</c:v>
                  </c:pt>
                  <c:pt idx="669">
                    <c:v>2022</c:v>
                  </c:pt>
                </c:lvl>
              </c:multiLvlStrCache>
            </c:multiLvlStrRef>
          </c:cat>
          <c:val>
            <c:numRef>
              <c:f>'National epi curve'!$M$3:$M$993</c:f>
              <c:numCache>
                <c:formatCode>General</c:formatCode>
                <c:ptCount val="991"/>
                <c:pt idx="0">
                  <c:v>2</c:v>
                </c:pt>
                <c:pt idx="1">
                  <c:v>2</c:v>
                </c:pt>
                <c:pt idx="2">
                  <c:v>2</c:v>
                </c:pt>
                <c:pt idx="3">
                  <c:v>5</c:v>
                </c:pt>
                <c:pt idx="4">
                  <c:v>4</c:v>
                </c:pt>
                <c:pt idx="5">
                  <c:v>5</c:v>
                </c:pt>
                <c:pt idx="6">
                  <c:v>6</c:v>
                </c:pt>
                <c:pt idx="7">
                  <c:v>11</c:v>
                </c:pt>
                <c:pt idx="8">
                  <c:v>18</c:v>
                </c:pt>
                <c:pt idx="9">
                  <c:v>17</c:v>
                </c:pt>
                <c:pt idx="10">
                  <c:v>15</c:v>
                </c:pt>
                <c:pt idx="11">
                  <c:v>23</c:v>
                </c:pt>
                <c:pt idx="12">
                  <c:v>164</c:v>
                </c:pt>
                <c:pt idx="13">
                  <c:v>152</c:v>
                </c:pt>
                <c:pt idx="14">
                  <c:v>166</c:v>
                </c:pt>
                <c:pt idx="15">
                  <c:v>142</c:v>
                </c:pt>
                <c:pt idx="16">
                  <c:v>117</c:v>
                </c:pt>
                <c:pt idx="17">
                  <c:v>78</c:v>
                </c:pt>
                <c:pt idx="18">
                  <c:v>42</c:v>
                </c:pt>
                <c:pt idx="19">
                  <c:v>148</c:v>
                </c:pt>
                <c:pt idx="20">
                  <c:v>75</c:v>
                </c:pt>
                <c:pt idx="21">
                  <c:v>65</c:v>
                </c:pt>
                <c:pt idx="22">
                  <c:v>48</c:v>
                </c:pt>
                <c:pt idx="23">
                  <c:v>64</c:v>
                </c:pt>
                <c:pt idx="24">
                  <c:v>35</c:v>
                </c:pt>
                <c:pt idx="25">
                  <c:v>26</c:v>
                </c:pt>
                <c:pt idx="26">
                  <c:v>70</c:v>
                </c:pt>
                <c:pt idx="27">
                  <c:v>57</c:v>
                </c:pt>
                <c:pt idx="28">
                  <c:v>52</c:v>
                </c:pt>
                <c:pt idx="29">
                  <c:v>65</c:v>
                </c:pt>
                <c:pt idx="30">
                  <c:v>79</c:v>
                </c:pt>
                <c:pt idx="31">
                  <c:v>67</c:v>
                </c:pt>
                <c:pt idx="32">
                  <c:v>52</c:v>
                </c:pt>
                <c:pt idx="33">
                  <c:v>98</c:v>
                </c:pt>
                <c:pt idx="34">
                  <c:v>86</c:v>
                </c:pt>
                <c:pt idx="35">
                  <c:v>117</c:v>
                </c:pt>
                <c:pt idx="36">
                  <c:v>120</c:v>
                </c:pt>
                <c:pt idx="37">
                  <c:v>65</c:v>
                </c:pt>
                <c:pt idx="38">
                  <c:v>141</c:v>
                </c:pt>
                <c:pt idx="39">
                  <c:v>70</c:v>
                </c:pt>
                <c:pt idx="40">
                  <c:v>61</c:v>
                </c:pt>
                <c:pt idx="41">
                  <c:v>152</c:v>
                </c:pt>
                <c:pt idx="42">
                  <c:v>191</c:v>
                </c:pt>
                <c:pt idx="43">
                  <c:v>268</c:v>
                </c:pt>
                <c:pt idx="44">
                  <c:v>218</c:v>
                </c:pt>
                <c:pt idx="45">
                  <c:v>202</c:v>
                </c:pt>
                <c:pt idx="46">
                  <c:v>78</c:v>
                </c:pt>
                <c:pt idx="47">
                  <c:v>360</c:v>
                </c:pt>
                <c:pt idx="48">
                  <c:v>303</c:v>
                </c:pt>
                <c:pt idx="49">
                  <c:v>346</c:v>
                </c:pt>
                <c:pt idx="50">
                  <c:v>320</c:v>
                </c:pt>
                <c:pt idx="51">
                  <c:v>400</c:v>
                </c:pt>
                <c:pt idx="52">
                  <c:v>175</c:v>
                </c:pt>
                <c:pt idx="53">
                  <c:v>190</c:v>
                </c:pt>
                <c:pt idx="54">
                  <c:v>182</c:v>
                </c:pt>
                <c:pt idx="55">
                  <c:v>611</c:v>
                </c:pt>
                <c:pt idx="56">
                  <c:v>596</c:v>
                </c:pt>
                <c:pt idx="57">
                  <c:v>733</c:v>
                </c:pt>
                <c:pt idx="58">
                  <c:v>390</c:v>
                </c:pt>
                <c:pt idx="59">
                  <c:v>287</c:v>
                </c:pt>
                <c:pt idx="60">
                  <c:v>261</c:v>
                </c:pt>
                <c:pt idx="61">
                  <c:v>907</c:v>
                </c:pt>
                <c:pt idx="62" formatCode="#,##0">
                  <c:v>1278</c:v>
                </c:pt>
                <c:pt idx="63">
                  <c:v>898</c:v>
                </c:pt>
                <c:pt idx="64">
                  <c:v>864</c:v>
                </c:pt>
                <c:pt idx="65">
                  <c:v>933</c:v>
                </c:pt>
                <c:pt idx="66">
                  <c:v>552</c:v>
                </c:pt>
                <c:pt idx="67">
                  <c:v>326</c:v>
                </c:pt>
                <c:pt idx="68" formatCode="#,##0">
                  <c:v>1524</c:v>
                </c:pt>
                <c:pt idx="69" formatCode="#,##0">
                  <c:v>1429</c:v>
                </c:pt>
                <c:pt idx="70" formatCode="#,##0">
                  <c:v>1263</c:v>
                </c:pt>
                <c:pt idx="71" formatCode="#,##0">
                  <c:v>1268</c:v>
                </c:pt>
                <c:pt idx="72" formatCode="#,##0">
                  <c:v>1330</c:v>
                </c:pt>
                <c:pt idx="73">
                  <c:v>536</c:v>
                </c:pt>
                <c:pt idx="74">
                  <c:v>460</c:v>
                </c:pt>
                <c:pt idx="75" formatCode="#,##0">
                  <c:v>2023</c:v>
                </c:pt>
                <c:pt idx="76" formatCode="#,##0">
                  <c:v>1824</c:v>
                </c:pt>
                <c:pt idx="77" formatCode="#,##0">
                  <c:v>1876</c:v>
                </c:pt>
                <c:pt idx="78" formatCode="#,##0">
                  <c:v>1775</c:v>
                </c:pt>
                <c:pt idx="79" formatCode="#,##0">
                  <c:v>1955</c:v>
                </c:pt>
                <c:pt idx="80">
                  <c:v>967</c:v>
                </c:pt>
                <c:pt idx="81">
                  <c:v>557</c:v>
                </c:pt>
                <c:pt idx="82" formatCode="#,##0">
                  <c:v>2341</c:v>
                </c:pt>
                <c:pt idx="83" formatCode="#,##0">
                  <c:v>2147</c:v>
                </c:pt>
                <c:pt idx="84" formatCode="#,##0">
                  <c:v>2009</c:v>
                </c:pt>
                <c:pt idx="85" formatCode="#,##0">
                  <c:v>2069</c:v>
                </c:pt>
                <c:pt idx="86" formatCode="#,##0">
                  <c:v>2064</c:v>
                </c:pt>
                <c:pt idx="87" formatCode="#,##0">
                  <c:v>1045</c:v>
                </c:pt>
                <c:pt idx="88">
                  <c:v>654</c:v>
                </c:pt>
                <c:pt idx="89" formatCode="#,##0">
                  <c:v>2825</c:v>
                </c:pt>
                <c:pt idx="90" formatCode="#,##0">
                  <c:v>2463</c:v>
                </c:pt>
                <c:pt idx="91" formatCode="#,##0">
                  <c:v>2350</c:v>
                </c:pt>
                <c:pt idx="92" formatCode="#,##0">
                  <c:v>2256</c:v>
                </c:pt>
                <c:pt idx="93" formatCode="#,##0">
                  <c:v>2384</c:v>
                </c:pt>
                <c:pt idx="94" formatCode="#,##0">
                  <c:v>1211</c:v>
                </c:pt>
                <c:pt idx="95">
                  <c:v>857</c:v>
                </c:pt>
                <c:pt idx="96" formatCode="#,##0">
                  <c:v>3620</c:v>
                </c:pt>
                <c:pt idx="97" formatCode="#,##0">
                  <c:v>3581</c:v>
                </c:pt>
                <c:pt idx="98" formatCode="#,##0">
                  <c:v>3547</c:v>
                </c:pt>
                <c:pt idx="99" formatCode="#,##0">
                  <c:v>3894</c:v>
                </c:pt>
                <c:pt idx="100" formatCode="#,##0">
                  <c:v>3869</c:v>
                </c:pt>
                <c:pt idx="101" formatCode="#,##0">
                  <c:v>1913</c:v>
                </c:pt>
                <c:pt idx="102" formatCode="#,##0">
                  <c:v>1658</c:v>
                </c:pt>
                <c:pt idx="103" formatCode="#,##0">
                  <c:v>6249</c:v>
                </c:pt>
                <c:pt idx="104" formatCode="#,##0">
                  <c:v>1793</c:v>
                </c:pt>
                <c:pt idx="105" formatCode="#,##0">
                  <c:v>6092</c:v>
                </c:pt>
                <c:pt idx="106" formatCode="#,##0">
                  <c:v>6171</c:v>
                </c:pt>
                <c:pt idx="107" formatCode="#,##0">
                  <c:v>6178</c:v>
                </c:pt>
                <c:pt idx="108" formatCode="#,##0">
                  <c:v>3181</c:v>
                </c:pt>
                <c:pt idx="109" formatCode="#,##0">
                  <c:v>1961</c:v>
                </c:pt>
                <c:pt idx="110" formatCode="#,##0">
                  <c:v>8957</c:v>
                </c:pt>
                <c:pt idx="111" formatCode="#,##0">
                  <c:v>8808</c:v>
                </c:pt>
                <c:pt idx="112" formatCode="#,##0">
                  <c:v>9350</c:v>
                </c:pt>
                <c:pt idx="113" formatCode="#,##0">
                  <c:v>9714</c:v>
                </c:pt>
                <c:pt idx="114" formatCode="#,##0">
                  <c:v>9871</c:v>
                </c:pt>
                <c:pt idx="115" formatCode="#,##0">
                  <c:v>3933</c:v>
                </c:pt>
                <c:pt idx="116" formatCode="#,##0">
                  <c:v>3055</c:v>
                </c:pt>
                <c:pt idx="117" formatCode="#,##0">
                  <c:v>14506</c:v>
                </c:pt>
                <c:pt idx="118" formatCode="#,##0">
                  <c:v>13357</c:v>
                </c:pt>
                <c:pt idx="119" formatCode="#,##0">
                  <c:v>12508</c:v>
                </c:pt>
                <c:pt idx="120" formatCode="#,##0">
                  <c:v>12260</c:v>
                </c:pt>
                <c:pt idx="121" formatCode="#,##0">
                  <c:v>11638</c:v>
                </c:pt>
                <c:pt idx="122" formatCode="#,##0">
                  <c:v>5015</c:v>
                </c:pt>
                <c:pt idx="123" formatCode="#,##0">
                  <c:v>3389</c:v>
                </c:pt>
                <c:pt idx="124" formatCode="#,##0">
                  <c:v>16437</c:v>
                </c:pt>
                <c:pt idx="125" formatCode="#,##0">
                  <c:v>15649</c:v>
                </c:pt>
                <c:pt idx="126" formatCode="#,##0">
                  <c:v>13985</c:v>
                </c:pt>
                <c:pt idx="127" formatCode="#,##0">
                  <c:v>13961</c:v>
                </c:pt>
                <c:pt idx="128" formatCode="#,##0">
                  <c:v>13723</c:v>
                </c:pt>
                <c:pt idx="129" formatCode="#,##0">
                  <c:v>5199</c:v>
                </c:pt>
                <c:pt idx="130" formatCode="#,##0">
                  <c:v>3414</c:v>
                </c:pt>
                <c:pt idx="131" formatCode="#,##0">
                  <c:v>17339</c:v>
                </c:pt>
                <c:pt idx="132" formatCode="#,##0">
                  <c:v>15011</c:v>
                </c:pt>
                <c:pt idx="133" formatCode="#,##0">
                  <c:v>13331</c:v>
                </c:pt>
                <c:pt idx="134" formatCode="#,##0">
                  <c:v>13136</c:v>
                </c:pt>
                <c:pt idx="135" formatCode="#,##0">
                  <c:v>13357</c:v>
                </c:pt>
                <c:pt idx="136" formatCode="#,##0">
                  <c:v>5513</c:v>
                </c:pt>
                <c:pt idx="137" formatCode="#,##0">
                  <c:v>3379</c:v>
                </c:pt>
                <c:pt idx="138" formatCode="#,##0">
                  <c:v>17456</c:v>
                </c:pt>
                <c:pt idx="139" formatCode="#,##0">
                  <c:v>14610</c:v>
                </c:pt>
                <c:pt idx="140" formatCode="#,##0">
                  <c:v>12709</c:v>
                </c:pt>
                <c:pt idx="141" formatCode="#,##0">
                  <c:v>11927</c:v>
                </c:pt>
                <c:pt idx="142" formatCode="#,##0">
                  <c:v>10571</c:v>
                </c:pt>
                <c:pt idx="143" formatCode="#,##0">
                  <c:v>4352</c:v>
                </c:pt>
                <c:pt idx="144" formatCode="#,##0">
                  <c:v>2678</c:v>
                </c:pt>
                <c:pt idx="145" formatCode="#,##0">
                  <c:v>13371</c:v>
                </c:pt>
                <c:pt idx="146" formatCode="#,##0">
                  <c:v>10581</c:v>
                </c:pt>
                <c:pt idx="147" formatCode="#,##0">
                  <c:v>9445</c:v>
                </c:pt>
                <c:pt idx="148" formatCode="#,##0">
                  <c:v>8574</c:v>
                </c:pt>
                <c:pt idx="149" formatCode="#,##0">
                  <c:v>7677</c:v>
                </c:pt>
                <c:pt idx="150" formatCode="#,##0">
                  <c:v>3133</c:v>
                </c:pt>
                <c:pt idx="151" formatCode="#,##0">
                  <c:v>1840</c:v>
                </c:pt>
                <c:pt idx="152" formatCode="#,##0">
                  <c:v>9691</c:v>
                </c:pt>
                <c:pt idx="153" formatCode="#,##0">
                  <c:v>7491</c:v>
                </c:pt>
                <c:pt idx="154" formatCode="#,##0">
                  <c:v>6320</c:v>
                </c:pt>
                <c:pt idx="155" formatCode="#,##0">
                  <c:v>6043</c:v>
                </c:pt>
                <c:pt idx="156" formatCode="#,##0">
                  <c:v>5160</c:v>
                </c:pt>
                <c:pt idx="157" formatCode="#,##0">
                  <c:v>2146</c:v>
                </c:pt>
                <c:pt idx="158" formatCode="#,##0">
                  <c:v>1422</c:v>
                </c:pt>
                <c:pt idx="159" formatCode="#,##0">
                  <c:v>1644</c:v>
                </c:pt>
                <c:pt idx="160" formatCode="#,##0">
                  <c:v>6726</c:v>
                </c:pt>
                <c:pt idx="161" formatCode="#,##0">
                  <c:v>5120</c:v>
                </c:pt>
                <c:pt idx="162" formatCode="#,##0">
                  <c:v>4144</c:v>
                </c:pt>
                <c:pt idx="163" formatCode="#,##0">
                  <c:v>3918</c:v>
                </c:pt>
                <c:pt idx="164" formatCode="#,##0">
                  <c:v>1590</c:v>
                </c:pt>
                <c:pt idx="165" formatCode="#,##0">
                  <c:v>1045</c:v>
                </c:pt>
                <c:pt idx="166" formatCode="#,##0">
                  <c:v>4806</c:v>
                </c:pt>
                <c:pt idx="167" formatCode="#,##0">
                  <c:v>3757</c:v>
                </c:pt>
                <c:pt idx="168" formatCode="#,##0">
                  <c:v>3247</c:v>
                </c:pt>
                <c:pt idx="169" formatCode="#,##0">
                  <c:v>3008</c:v>
                </c:pt>
                <c:pt idx="170" formatCode="#,##0">
                  <c:v>3111</c:v>
                </c:pt>
                <c:pt idx="171" formatCode="#,##0">
                  <c:v>1219</c:v>
                </c:pt>
                <c:pt idx="172">
                  <c:v>868</c:v>
                </c:pt>
                <c:pt idx="173" formatCode="#,##0">
                  <c:v>3958</c:v>
                </c:pt>
                <c:pt idx="174" formatCode="#,##0">
                  <c:v>2753</c:v>
                </c:pt>
                <c:pt idx="175" formatCode="#,##0">
                  <c:v>2466</c:v>
                </c:pt>
                <c:pt idx="176" formatCode="#,##0">
                  <c:v>2305</c:v>
                </c:pt>
                <c:pt idx="177" formatCode="#,##0">
                  <c:v>2209</c:v>
                </c:pt>
                <c:pt idx="178">
                  <c:v>807</c:v>
                </c:pt>
                <c:pt idx="179">
                  <c:v>614</c:v>
                </c:pt>
                <c:pt idx="180" formatCode="#,##0">
                  <c:v>2873</c:v>
                </c:pt>
                <c:pt idx="181" formatCode="#,##0">
                  <c:v>2242</c:v>
                </c:pt>
                <c:pt idx="182" formatCode="#,##0">
                  <c:v>1959</c:v>
                </c:pt>
                <c:pt idx="183" formatCode="#,##0">
                  <c:v>1852</c:v>
                </c:pt>
                <c:pt idx="184" formatCode="#,##0">
                  <c:v>1766</c:v>
                </c:pt>
                <c:pt idx="185">
                  <c:v>702</c:v>
                </c:pt>
                <c:pt idx="186">
                  <c:v>464</c:v>
                </c:pt>
                <c:pt idx="187" formatCode="#,##0">
                  <c:v>2584</c:v>
                </c:pt>
                <c:pt idx="188" formatCode="#,##0">
                  <c:v>1960</c:v>
                </c:pt>
                <c:pt idx="189" formatCode="#,##0">
                  <c:v>1908</c:v>
                </c:pt>
                <c:pt idx="190" formatCode="#,##0">
                  <c:v>1948</c:v>
                </c:pt>
                <c:pt idx="191" formatCode="#,##0">
                  <c:v>1823</c:v>
                </c:pt>
                <c:pt idx="192">
                  <c:v>642</c:v>
                </c:pt>
                <c:pt idx="193">
                  <c:v>489</c:v>
                </c:pt>
                <c:pt idx="194" formatCode="#,##0">
                  <c:v>2648</c:v>
                </c:pt>
                <c:pt idx="195" formatCode="#,##0">
                  <c:v>2094</c:v>
                </c:pt>
                <c:pt idx="196" formatCode="#,##0">
                  <c:v>1881</c:v>
                </c:pt>
                <c:pt idx="197" formatCode="#,##0">
                  <c:v>1867</c:v>
                </c:pt>
                <c:pt idx="198" formatCode="#,##0">
                  <c:v>1798</c:v>
                </c:pt>
                <c:pt idx="199">
                  <c:v>671</c:v>
                </c:pt>
                <c:pt idx="200">
                  <c:v>511</c:v>
                </c:pt>
                <c:pt idx="201" formatCode="#,##0">
                  <c:v>2478</c:v>
                </c:pt>
                <c:pt idx="202" formatCode="#,##0">
                  <c:v>2033</c:v>
                </c:pt>
                <c:pt idx="203" formatCode="#,##0">
                  <c:v>1750</c:v>
                </c:pt>
                <c:pt idx="204">
                  <c:v>510</c:v>
                </c:pt>
                <c:pt idx="205" formatCode="#,##0">
                  <c:v>1767</c:v>
                </c:pt>
                <c:pt idx="206">
                  <c:v>568</c:v>
                </c:pt>
                <c:pt idx="207">
                  <c:v>457</c:v>
                </c:pt>
                <c:pt idx="208" formatCode="#,##0">
                  <c:v>2252</c:v>
                </c:pt>
                <c:pt idx="209" formatCode="#,##0">
                  <c:v>2000</c:v>
                </c:pt>
                <c:pt idx="210" formatCode="#,##0">
                  <c:v>1778</c:v>
                </c:pt>
                <c:pt idx="211" formatCode="#,##0">
                  <c:v>1718</c:v>
                </c:pt>
                <c:pt idx="212" formatCode="#,##0">
                  <c:v>1661</c:v>
                </c:pt>
                <c:pt idx="213">
                  <c:v>661</c:v>
                </c:pt>
                <c:pt idx="214">
                  <c:v>446</c:v>
                </c:pt>
                <c:pt idx="215" formatCode="#,##0">
                  <c:v>2547</c:v>
                </c:pt>
                <c:pt idx="216" formatCode="#,##0">
                  <c:v>1935</c:v>
                </c:pt>
                <c:pt idx="217" formatCode="#,##0">
                  <c:v>1856</c:v>
                </c:pt>
                <c:pt idx="218" formatCode="#,##0">
                  <c:v>1981</c:v>
                </c:pt>
                <c:pt idx="219" formatCode="#,##0">
                  <c:v>1871</c:v>
                </c:pt>
                <c:pt idx="220">
                  <c:v>648</c:v>
                </c:pt>
                <c:pt idx="221">
                  <c:v>396</c:v>
                </c:pt>
                <c:pt idx="222" formatCode="#,##0">
                  <c:v>2532</c:v>
                </c:pt>
                <c:pt idx="223" formatCode="#,##0">
                  <c:v>2118</c:v>
                </c:pt>
                <c:pt idx="224" formatCode="#,##0">
                  <c:v>2020</c:v>
                </c:pt>
                <c:pt idx="225" formatCode="#,##0">
                  <c:v>1981</c:v>
                </c:pt>
                <c:pt idx="226" formatCode="#,##0">
                  <c:v>1796</c:v>
                </c:pt>
                <c:pt idx="227">
                  <c:v>727</c:v>
                </c:pt>
                <c:pt idx="228">
                  <c:v>475</c:v>
                </c:pt>
                <c:pt idx="229" formatCode="#,##0">
                  <c:v>2617</c:v>
                </c:pt>
                <c:pt idx="230" formatCode="#,##0">
                  <c:v>2118</c:v>
                </c:pt>
                <c:pt idx="231" formatCode="#,##0">
                  <c:v>1961</c:v>
                </c:pt>
                <c:pt idx="232" formatCode="#,##0">
                  <c:v>1964</c:v>
                </c:pt>
                <c:pt idx="233" formatCode="#,##0">
                  <c:v>1747</c:v>
                </c:pt>
                <c:pt idx="234">
                  <c:v>656</c:v>
                </c:pt>
                <c:pt idx="235">
                  <c:v>465</c:v>
                </c:pt>
                <c:pt idx="236" formatCode="#,##0">
                  <c:v>2398</c:v>
                </c:pt>
                <c:pt idx="237" formatCode="#,##0">
                  <c:v>2068</c:v>
                </c:pt>
                <c:pt idx="238" formatCode="#,##0">
                  <c:v>1860</c:v>
                </c:pt>
                <c:pt idx="239" formatCode="#,##0">
                  <c:v>1911</c:v>
                </c:pt>
                <c:pt idx="240" formatCode="#,##0">
                  <c:v>1657</c:v>
                </c:pt>
                <c:pt idx="241">
                  <c:v>573</c:v>
                </c:pt>
                <c:pt idx="242">
                  <c:v>446</c:v>
                </c:pt>
                <c:pt idx="243" formatCode="#,##0">
                  <c:v>2299</c:v>
                </c:pt>
                <c:pt idx="244" formatCode="#,##0">
                  <c:v>2020</c:v>
                </c:pt>
                <c:pt idx="245" formatCode="#,##0">
                  <c:v>2019</c:v>
                </c:pt>
                <c:pt idx="246" formatCode="#,##0">
                  <c:v>1970</c:v>
                </c:pt>
                <c:pt idx="247" formatCode="#,##0">
                  <c:v>1983</c:v>
                </c:pt>
                <c:pt idx="248">
                  <c:v>787</c:v>
                </c:pt>
                <c:pt idx="249">
                  <c:v>575</c:v>
                </c:pt>
                <c:pt idx="250" formatCode="#,##0">
                  <c:v>2782</c:v>
                </c:pt>
                <c:pt idx="251" formatCode="#,##0">
                  <c:v>2498</c:v>
                </c:pt>
                <c:pt idx="252" formatCode="#,##0">
                  <c:v>2567</c:v>
                </c:pt>
                <c:pt idx="253" formatCode="#,##0">
                  <c:v>2439</c:v>
                </c:pt>
                <c:pt idx="254" formatCode="#,##0">
                  <c:v>2409</c:v>
                </c:pt>
                <c:pt idx="255">
                  <c:v>981</c:v>
                </c:pt>
                <c:pt idx="256">
                  <c:v>693</c:v>
                </c:pt>
                <c:pt idx="257" formatCode="#,##0">
                  <c:v>3677</c:v>
                </c:pt>
                <c:pt idx="258" formatCode="#,##0">
                  <c:v>2991</c:v>
                </c:pt>
                <c:pt idx="259" formatCode="#,##0">
                  <c:v>3087</c:v>
                </c:pt>
                <c:pt idx="260" formatCode="#,##0">
                  <c:v>3119</c:v>
                </c:pt>
                <c:pt idx="261" formatCode="#,##0">
                  <c:v>3354</c:v>
                </c:pt>
                <c:pt idx="262" formatCode="#,##0">
                  <c:v>1069</c:v>
                </c:pt>
                <c:pt idx="263">
                  <c:v>770</c:v>
                </c:pt>
                <c:pt idx="264" formatCode="#,##0">
                  <c:v>4591</c:v>
                </c:pt>
                <c:pt idx="265" formatCode="#,##0">
                  <c:v>3966</c:v>
                </c:pt>
                <c:pt idx="266" formatCode="#,##0">
                  <c:v>3717</c:v>
                </c:pt>
                <c:pt idx="267" formatCode="#,##0">
                  <c:v>3644</c:v>
                </c:pt>
                <c:pt idx="268" formatCode="#,##0">
                  <c:v>3294</c:v>
                </c:pt>
                <c:pt idx="269" formatCode="#,##0">
                  <c:v>1154</c:v>
                </c:pt>
                <c:pt idx="270">
                  <c:v>935</c:v>
                </c:pt>
                <c:pt idx="271" formatCode="#,##0">
                  <c:v>5704</c:v>
                </c:pt>
                <c:pt idx="272" formatCode="#,##0">
                  <c:v>5029</c:v>
                </c:pt>
                <c:pt idx="273" formatCode="#,##0">
                  <c:v>5058</c:v>
                </c:pt>
                <c:pt idx="274" formatCode="#,##0">
                  <c:v>5226</c:v>
                </c:pt>
                <c:pt idx="275" formatCode="#,##0">
                  <c:v>5177</c:v>
                </c:pt>
                <c:pt idx="276" formatCode="#,##0">
                  <c:v>2324</c:v>
                </c:pt>
                <c:pt idx="277" formatCode="#,##0">
                  <c:v>1829</c:v>
                </c:pt>
                <c:pt idx="278" formatCode="#,##0">
                  <c:v>9400</c:v>
                </c:pt>
                <c:pt idx="279" formatCode="#,##0">
                  <c:v>8553</c:v>
                </c:pt>
                <c:pt idx="280" formatCode="#,##0">
                  <c:v>9029</c:v>
                </c:pt>
                <c:pt idx="281" formatCode="#,##0">
                  <c:v>9423</c:v>
                </c:pt>
                <c:pt idx="282" formatCode="#,##0">
                  <c:v>9214</c:v>
                </c:pt>
                <c:pt idx="283" formatCode="#,##0">
                  <c:v>3883</c:v>
                </c:pt>
                <c:pt idx="284" formatCode="#,##0">
                  <c:v>2921</c:v>
                </c:pt>
                <c:pt idx="285" formatCode="#,##0">
                  <c:v>13780</c:v>
                </c:pt>
                <c:pt idx="286" formatCode="#,##0">
                  <c:v>11882</c:v>
                </c:pt>
                <c:pt idx="287" formatCode="#,##0">
                  <c:v>4396</c:v>
                </c:pt>
                <c:pt idx="288" formatCode="#,##0">
                  <c:v>14353</c:v>
                </c:pt>
                <c:pt idx="289" formatCode="#,##0">
                  <c:v>12186</c:v>
                </c:pt>
                <c:pt idx="290" formatCode="#,##0">
                  <c:v>5960</c:v>
                </c:pt>
                <c:pt idx="291" formatCode="#,##0">
                  <c:v>4857</c:v>
                </c:pt>
                <c:pt idx="292" formatCode="#,##0">
                  <c:v>19071</c:v>
                </c:pt>
                <c:pt idx="293" formatCode="#,##0">
                  <c:v>15875</c:v>
                </c:pt>
                <c:pt idx="294" formatCode="#,##0">
                  <c:v>15031</c:v>
                </c:pt>
                <c:pt idx="295" formatCode="#,##0">
                  <c:v>12274</c:v>
                </c:pt>
                <c:pt idx="296" formatCode="#,##0">
                  <c:v>4305</c:v>
                </c:pt>
                <c:pt idx="297" formatCode="#,##0">
                  <c:v>6557</c:v>
                </c:pt>
                <c:pt idx="298" formatCode="#,##0">
                  <c:v>6679</c:v>
                </c:pt>
                <c:pt idx="299" formatCode="#,##0">
                  <c:v>24675</c:v>
                </c:pt>
                <c:pt idx="300" formatCode="#,##0">
                  <c:v>22064</c:v>
                </c:pt>
                <c:pt idx="301" formatCode="#,##0">
                  <c:v>21818</c:v>
                </c:pt>
                <c:pt idx="302" formatCode="#,##0">
                  <c:v>17808</c:v>
                </c:pt>
                <c:pt idx="303" formatCode="#,##0">
                  <c:v>6449</c:v>
                </c:pt>
                <c:pt idx="304" formatCode="#,##0">
                  <c:v>11011</c:v>
                </c:pt>
                <c:pt idx="305" formatCode="#,##0">
                  <c:v>8842</c:v>
                </c:pt>
                <c:pt idx="306" formatCode="#,##0">
                  <c:v>31699</c:v>
                </c:pt>
                <c:pt idx="307" formatCode="#,##0">
                  <c:v>26756</c:v>
                </c:pt>
                <c:pt idx="308" formatCode="#,##0">
                  <c:v>24421</c:v>
                </c:pt>
                <c:pt idx="309" formatCode="#,##0">
                  <c:v>21949</c:v>
                </c:pt>
                <c:pt idx="310" formatCode="#,##0">
                  <c:v>20264</c:v>
                </c:pt>
                <c:pt idx="311" formatCode="#,##0">
                  <c:v>9457</c:v>
                </c:pt>
                <c:pt idx="312" formatCode="#,##0">
                  <c:v>6212</c:v>
                </c:pt>
                <c:pt idx="313" formatCode="#,##0">
                  <c:v>24070</c:v>
                </c:pt>
                <c:pt idx="314" formatCode="#,##0">
                  <c:v>18892</c:v>
                </c:pt>
                <c:pt idx="315" formatCode="#,##0">
                  <c:v>16768</c:v>
                </c:pt>
                <c:pt idx="316" formatCode="#,##0">
                  <c:v>14670</c:v>
                </c:pt>
                <c:pt idx="317" formatCode="#,##0">
                  <c:v>12708</c:v>
                </c:pt>
                <c:pt idx="318" formatCode="#,##0">
                  <c:v>5537</c:v>
                </c:pt>
                <c:pt idx="319" formatCode="#,##0">
                  <c:v>3774</c:v>
                </c:pt>
                <c:pt idx="320" formatCode="#,##0">
                  <c:v>14984</c:v>
                </c:pt>
                <c:pt idx="321" formatCode="#,##0">
                  <c:v>11093</c:v>
                </c:pt>
                <c:pt idx="322" formatCode="#,##0">
                  <c:v>9479</c:v>
                </c:pt>
                <c:pt idx="323" formatCode="#,##0">
                  <c:v>8659</c:v>
                </c:pt>
                <c:pt idx="324" formatCode="#,##0">
                  <c:v>7570</c:v>
                </c:pt>
                <c:pt idx="325" formatCode="#,##0">
                  <c:v>3235</c:v>
                </c:pt>
                <c:pt idx="326" formatCode="#,##0">
                  <c:v>2015</c:v>
                </c:pt>
                <c:pt idx="327" formatCode="#,##0">
                  <c:v>7619</c:v>
                </c:pt>
                <c:pt idx="328" formatCode="#,##0">
                  <c:v>6483</c:v>
                </c:pt>
                <c:pt idx="329" formatCode="#,##0">
                  <c:v>5331</c:v>
                </c:pt>
                <c:pt idx="330" formatCode="#,##0">
                  <c:v>4300</c:v>
                </c:pt>
                <c:pt idx="331" formatCode="#,##0">
                  <c:v>3949</c:v>
                </c:pt>
                <c:pt idx="332" formatCode="#,##0">
                  <c:v>1845</c:v>
                </c:pt>
                <c:pt idx="333" formatCode="#,##0">
                  <c:v>1422</c:v>
                </c:pt>
                <c:pt idx="334" formatCode="#,##0">
                  <c:v>5090</c:v>
                </c:pt>
                <c:pt idx="335" formatCode="#,##0">
                  <c:v>3688</c:v>
                </c:pt>
                <c:pt idx="336" formatCode="#,##0">
                  <c:v>3297</c:v>
                </c:pt>
                <c:pt idx="337" formatCode="#,##0">
                  <c:v>2952</c:v>
                </c:pt>
                <c:pt idx="338" formatCode="#,##0">
                  <c:v>2773</c:v>
                </c:pt>
                <c:pt idx="339" formatCode="#,##0">
                  <c:v>1249</c:v>
                </c:pt>
                <c:pt idx="340" formatCode="#,##0">
                  <c:v>1018</c:v>
                </c:pt>
                <c:pt idx="341" formatCode="#,##0">
                  <c:v>3592</c:v>
                </c:pt>
                <c:pt idx="342" formatCode="#,##0">
                  <c:v>2674</c:v>
                </c:pt>
                <c:pt idx="343" formatCode="#,##0">
                  <c:v>2487</c:v>
                </c:pt>
                <c:pt idx="344" formatCode="#,##0">
                  <c:v>2221</c:v>
                </c:pt>
                <c:pt idx="345" formatCode="#,##0">
                  <c:v>1983</c:v>
                </c:pt>
                <c:pt idx="346">
                  <c:v>872</c:v>
                </c:pt>
                <c:pt idx="347">
                  <c:v>727</c:v>
                </c:pt>
                <c:pt idx="348" formatCode="#,##0">
                  <c:v>2445</c:v>
                </c:pt>
                <c:pt idx="349" formatCode="#,##0">
                  <c:v>1930</c:v>
                </c:pt>
                <c:pt idx="350" formatCode="#,##0">
                  <c:v>1747</c:v>
                </c:pt>
                <c:pt idx="351" formatCode="#,##0">
                  <c:v>1690</c:v>
                </c:pt>
                <c:pt idx="352" formatCode="#,##0">
                  <c:v>1644</c:v>
                </c:pt>
                <c:pt idx="353">
                  <c:v>724</c:v>
                </c:pt>
                <c:pt idx="354">
                  <c:v>606</c:v>
                </c:pt>
                <c:pt idx="355" formatCode="#,##0">
                  <c:v>2120</c:v>
                </c:pt>
                <c:pt idx="356" formatCode="#,##0">
                  <c:v>1693</c:v>
                </c:pt>
                <c:pt idx="357" formatCode="#,##0">
                  <c:v>1598</c:v>
                </c:pt>
                <c:pt idx="358" formatCode="#,##0">
                  <c:v>1402</c:v>
                </c:pt>
                <c:pt idx="359" formatCode="#,##0">
                  <c:v>1262</c:v>
                </c:pt>
                <c:pt idx="360">
                  <c:v>634</c:v>
                </c:pt>
                <c:pt idx="361">
                  <c:v>386</c:v>
                </c:pt>
                <c:pt idx="362" formatCode="#,##0">
                  <c:v>1753</c:v>
                </c:pt>
                <c:pt idx="363" formatCode="#,##0">
                  <c:v>1481</c:v>
                </c:pt>
                <c:pt idx="364" formatCode="#,##0">
                  <c:v>1236</c:v>
                </c:pt>
                <c:pt idx="365" formatCode="#,##0">
                  <c:v>1221</c:v>
                </c:pt>
                <c:pt idx="366" formatCode="#,##0">
                  <c:v>1199</c:v>
                </c:pt>
                <c:pt idx="367">
                  <c:v>526</c:v>
                </c:pt>
                <c:pt idx="368">
                  <c:v>435</c:v>
                </c:pt>
                <c:pt idx="369" formatCode="#,##0">
                  <c:v>1736</c:v>
                </c:pt>
                <c:pt idx="370" formatCode="#,##0">
                  <c:v>1344</c:v>
                </c:pt>
                <c:pt idx="371" formatCode="#,##0">
                  <c:v>1233</c:v>
                </c:pt>
                <c:pt idx="372" formatCode="#,##0">
                  <c:v>1261</c:v>
                </c:pt>
                <c:pt idx="373" formatCode="#,##0">
                  <c:v>1092</c:v>
                </c:pt>
                <c:pt idx="374">
                  <c:v>474</c:v>
                </c:pt>
                <c:pt idx="375">
                  <c:v>377</c:v>
                </c:pt>
                <c:pt idx="376" formatCode="#,##0">
                  <c:v>1648</c:v>
                </c:pt>
                <c:pt idx="377" formatCode="#,##0">
                  <c:v>1329</c:v>
                </c:pt>
                <c:pt idx="378" formatCode="#,##0">
                  <c:v>1299</c:v>
                </c:pt>
                <c:pt idx="379" formatCode="#,##0">
                  <c:v>1142</c:v>
                </c:pt>
                <c:pt idx="380" formatCode="#,##0">
                  <c:v>1119</c:v>
                </c:pt>
                <c:pt idx="381">
                  <c:v>472</c:v>
                </c:pt>
                <c:pt idx="382">
                  <c:v>392</c:v>
                </c:pt>
                <c:pt idx="383">
                  <c:v>504</c:v>
                </c:pt>
                <c:pt idx="384" formatCode="#,##0">
                  <c:v>1719</c:v>
                </c:pt>
                <c:pt idx="385" formatCode="#,##0">
                  <c:v>1264</c:v>
                </c:pt>
                <c:pt idx="386" formatCode="#,##0">
                  <c:v>1150</c:v>
                </c:pt>
                <c:pt idx="387" formatCode="#,##0">
                  <c:v>1163</c:v>
                </c:pt>
                <c:pt idx="388">
                  <c:v>518</c:v>
                </c:pt>
                <c:pt idx="389">
                  <c:v>412</c:v>
                </c:pt>
                <c:pt idx="390" formatCode="#,##0">
                  <c:v>1697</c:v>
                </c:pt>
                <c:pt idx="391" formatCode="#,##0">
                  <c:v>1310</c:v>
                </c:pt>
                <c:pt idx="392" formatCode="#,##0">
                  <c:v>1170</c:v>
                </c:pt>
                <c:pt idx="393">
                  <c:v>954</c:v>
                </c:pt>
                <c:pt idx="394">
                  <c:v>379</c:v>
                </c:pt>
                <c:pt idx="395">
                  <c:v>536</c:v>
                </c:pt>
                <c:pt idx="396">
                  <c:v>362</c:v>
                </c:pt>
                <c:pt idx="397">
                  <c:v>493</c:v>
                </c:pt>
                <c:pt idx="398" formatCode="#,##0">
                  <c:v>1641</c:v>
                </c:pt>
                <c:pt idx="399" formatCode="#,##0">
                  <c:v>1331</c:v>
                </c:pt>
                <c:pt idx="400" formatCode="#,##0">
                  <c:v>1193</c:v>
                </c:pt>
                <c:pt idx="401" formatCode="#,##0">
                  <c:v>1167</c:v>
                </c:pt>
                <c:pt idx="402">
                  <c:v>509</c:v>
                </c:pt>
                <c:pt idx="403">
                  <c:v>446</c:v>
                </c:pt>
                <c:pt idx="404" formatCode="#,##0">
                  <c:v>1856</c:v>
                </c:pt>
                <c:pt idx="405" formatCode="#,##0">
                  <c:v>1404</c:v>
                </c:pt>
                <c:pt idx="406" formatCode="#,##0">
                  <c:v>1356</c:v>
                </c:pt>
                <c:pt idx="407" formatCode="#,##0">
                  <c:v>1481</c:v>
                </c:pt>
                <c:pt idx="408" formatCode="#,##0">
                  <c:v>1310</c:v>
                </c:pt>
                <c:pt idx="409">
                  <c:v>604</c:v>
                </c:pt>
                <c:pt idx="410">
                  <c:v>476</c:v>
                </c:pt>
                <c:pt idx="411" formatCode="#,##0">
                  <c:v>1910</c:v>
                </c:pt>
                <c:pt idx="412" formatCode="#,##0">
                  <c:v>1575</c:v>
                </c:pt>
                <c:pt idx="413" formatCode="#,##0">
                  <c:v>1540</c:v>
                </c:pt>
                <c:pt idx="414" formatCode="#,##0">
                  <c:v>1393</c:v>
                </c:pt>
                <c:pt idx="415" formatCode="#,##0">
                  <c:v>1276</c:v>
                </c:pt>
                <c:pt idx="416">
                  <c:v>590</c:v>
                </c:pt>
                <c:pt idx="417">
                  <c:v>495</c:v>
                </c:pt>
                <c:pt idx="418" formatCode="#,##0">
                  <c:v>1871</c:v>
                </c:pt>
                <c:pt idx="419">
                  <c:v>544</c:v>
                </c:pt>
                <c:pt idx="420" formatCode="#,##0">
                  <c:v>1963</c:v>
                </c:pt>
                <c:pt idx="421" formatCode="#,##0">
                  <c:v>1705</c:v>
                </c:pt>
                <c:pt idx="422" formatCode="#,##0">
                  <c:v>1447</c:v>
                </c:pt>
                <c:pt idx="423">
                  <c:v>676</c:v>
                </c:pt>
                <c:pt idx="424">
                  <c:v>604</c:v>
                </c:pt>
                <c:pt idx="425" formatCode="#,##0">
                  <c:v>2501</c:v>
                </c:pt>
                <c:pt idx="426" formatCode="#,##0">
                  <c:v>2115</c:v>
                </c:pt>
                <c:pt idx="427" formatCode="#,##0">
                  <c:v>2203</c:v>
                </c:pt>
                <c:pt idx="428" formatCode="#,##0">
                  <c:v>2332</c:v>
                </c:pt>
                <c:pt idx="429" formatCode="#,##0">
                  <c:v>2207</c:v>
                </c:pt>
                <c:pt idx="430">
                  <c:v>982</c:v>
                </c:pt>
                <c:pt idx="431">
                  <c:v>801</c:v>
                </c:pt>
                <c:pt idx="432" formatCode="#,##0">
                  <c:v>3477</c:v>
                </c:pt>
                <c:pt idx="433" formatCode="#,##0">
                  <c:v>3493</c:v>
                </c:pt>
                <c:pt idx="434" formatCode="#,##0">
                  <c:v>3356</c:v>
                </c:pt>
                <c:pt idx="435" formatCode="#,##0">
                  <c:v>3008</c:v>
                </c:pt>
                <c:pt idx="436" formatCode="#,##0">
                  <c:v>2872</c:v>
                </c:pt>
                <c:pt idx="437" formatCode="#,##0">
                  <c:v>1398</c:v>
                </c:pt>
                <c:pt idx="438" formatCode="#,##0">
                  <c:v>1099</c:v>
                </c:pt>
                <c:pt idx="439" formatCode="#,##0">
                  <c:v>4306</c:v>
                </c:pt>
                <c:pt idx="440" formatCode="#,##0">
                  <c:v>3909</c:v>
                </c:pt>
                <c:pt idx="441" formatCode="#,##0">
                  <c:v>3841</c:v>
                </c:pt>
                <c:pt idx="442" formatCode="#,##0">
                  <c:v>4091</c:v>
                </c:pt>
                <c:pt idx="443" formatCode="#,##0">
                  <c:v>3561</c:v>
                </c:pt>
                <c:pt idx="444" formatCode="#,##0">
                  <c:v>1764</c:v>
                </c:pt>
                <c:pt idx="445" formatCode="#,##0">
                  <c:v>1293</c:v>
                </c:pt>
                <c:pt idx="446" formatCode="#,##0">
                  <c:v>5687</c:v>
                </c:pt>
                <c:pt idx="447" formatCode="#,##0">
                  <c:v>4853</c:v>
                </c:pt>
                <c:pt idx="448" formatCode="#,##0">
                  <c:v>4929</c:v>
                </c:pt>
                <c:pt idx="449" formatCode="#,##0">
                  <c:v>4948</c:v>
                </c:pt>
                <c:pt idx="450" formatCode="#,##0">
                  <c:v>4389</c:v>
                </c:pt>
                <c:pt idx="451" formatCode="#,##0">
                  <c:v>2201</c:v>
                </c:pt>
                <c:pt idx="452" formatCode="#,##0">
                  <c:v>1604</c:v>
                </c:pt>
                <c:pt idx="453" formatCode="#,##0">
                  <c:v>6747</c:v>
                </c:pt>
                <c:pt idx="454" formatCode="#,##0">
                  <c:v>5517</c:v>
                </c:pt>
                <c:pt idx="455" formatCode="#,##0">
                  <c:v>5669</c:v>
                </c:pt>
                <c:pt idx="456" formatCode="#,##0">
                  <c:v>5681</c:v>
                </c:pt>
                <c:pt idx="457" formatCode="#,##0">
                  <c:v>5683</c:v>
                </c:pt>
                <c:pt idx="458" formatCode="#,##0">
                  <c:v>2880</c:v>
                </c:pt>
                <c:pt idx="459" formatCode="#,##0">
                  <c:v>2123</c:v>
                </c:pt>
                <c:pt idx="460" formatCode="#,##0">
                  <c:v>9898</c:v>
                </c:pt>
                <c:pt idx="461" formatCode="#,##0">
                  <c:v>9819</c:v>
                </c:pt>
                <c:pt idx="462" formatCode="#,##0">
                  <c:v>8941</c:v>
                </c:pt>
                <c:pt idx="463" formatCode="#,##0">
                  <c:v>9755</c:v>
                </c:pt>
                <c:pt idx="464" formatCode="#,##0">
                  <c:v>9623</c:v>
                </c:pt>
                <c:pt idx="465" formatCode="#,##0">
                  <c:v>5425</c:v>
                </c:pt>
                <c:pt idx="466" formatCode="#,##0">
                  <c:v>3568</c:v>
                </c:pt>
                <c:pt idx="467" formatCode="#,##0">
                  <c:v>16303</c:v>
                </c:pt>
                <c:pt idx="468" formatCode="#,##0">
                  <c:v>14704</c:v>
                </c:pt>
                <c:pt idx="469" formatCode="#,##0">
                  <c:v>5917</c:v>
                </c:pt>
                <c:pt idx="470" formatCode="#,##0">
                  <c:v>18118</c:v>
                </c:pt>
                <c:pt idx="471" formatCode="#,##0">
                  <c:v>16828</c:v>
                </c:pt>
                <c:pt idx="472" formatCode="#,##0">
                  <c:v>7464</c:v>
                </c:pt>
                <c:pt idx="473" formatCode="#,##0">
                  <c:v>4917</c:v>
                </c:pt>
                <c:pt idx="474" formatCode="#,##0">
                  <c:v>23317</c:v>
                </c:pt>
                <c:pt idx="475" formatCode="#,##0">
                  <c:v>20012</c:v>
                </c:pt>
                <c:pt idx="476" formatCode="#,##0">
                  <c:v>18769</c:v>
                </c:pt>
                <c:pt idx="477" formatCode="#,##0">
                  <c:v>18960</c:v>
                </c:pt>
                <c:pt idx="478" formatCode="#,##0">
                  <c:v>17841</c:v>
                </c:pt>
                <c:pt idx="479" formatCode="#,##0">
                  <c:v>8260</c:v>
                </c:pt>
                <c:pt idx="480" formatCode="#,##0">
                  <c:v>5560</c:v>
                </c:pt>
                <c:pt idx="481" formatCode="#,##0">
                  <c:v>26628</c:v>
                </c:pt>
                <c:pt idx="482" formatCode="#,##0">
                  <c:v>22766</c:v>
                </c:pt>
                <c:pt idx="483" formatCode="#,##0">
                  <c:v>24495</c:v>
                </c:pt>
                <c:pt idx="484" formatCode="#,##0">
                  <c:v>27083</c:v>
                </c:pt>
                <c:pt idx="485" formatCode="#,##0">
                  <c:v>21362</c:v>
                </c:pt>
                <c:pt idx="486" formatCode="#,##0">
                  <c:v>9751</c:v>
                </c:pt>
                <c:pt idx="487" formatCode="#,##0">
                  <c:v>6002</c:v>
                </c:pt>
                <c:pt idx="488" formatCode="#,##0">
                  <c:v>29984</c:v>
                </c:pt>
                <c:pt idx="489" formatCode="#,##0">
                  <c:v>23001</c:v>
                </c:pt>
                <c:pt idx="490" formatCode="#,##0">
                  <c:v>23663</c:v>
                </c:pt>
                <c:pt idx="491" formatCode="#,##0">
                  <c:v>21227</c:v>
                </c:pt>
                <c:pt idx="492" formatCode="#,##0">
                  <c:v>19130</c:v>
                </c:pt>
                <c:pt idx="493" formatCode="#,##0">
                  <c:v>9022</c:v>
                </c:pt>
                <c:pt idx="494" formatCode="#,##0">
                  <c:v>5597</c:v>
                </c:pt>
                <c:pt idx="495" formatCode="#,##0">
                  <c:v>22612</c:v>
                </c:pt>
                <c:pt idx="496" formatCode="#,##0">
                  <c:v>16854</c:v>
                </c:pt>
                <c:pt idx="497" formatCode="#,##0">
                  <c:v>14951</c:v>
                </c:pt>
                <c:pt idx="498" formatCode="#,##0">
                  <c:v>14097</c:v>
                </c:pt>
                <c:pt idx="499" formatCode="#,##0">
                  <c:v>13672</c:v>
                </c:pt>
                <c:pt idx="500" formatCode="#,##0">
                  <c:v>5936</c:v>
                </c:pt>
                <c:pt idx="501" formatCode="#,##0">
                  <c:v>4076</c:v>
                </c:pt>
                <c:pt idx="502" formatCode="#,##0">
                  <c:v>20481</c:v>
                </c:pt>
                <c:pt idx="503" formatCode="#,##0">
                  <c:v>15209</c:v>
                </c:pt>
                <c:pt idx="504" formatCode="#,##0">
                  <c:v>13673</c:v>
                </c:pt>
                <c:pt idx="505" formatCode="#,##0">
                  <c:v>12112</c:v>
                </c:pt>
                <c:pt idx="506" formatCode="#,##0">
                  <c:v>11120</c:v>
                </c:pt>
                <c:pt idx="507" formatCode="#,##0">
                  <c:v>5125</c:v>
                </c:pt>
                <c:pt idx="508" formatCode="#,##0">
                  <c:v>3622</c:v>
                </c:pt>
                <c:pt idx="509" formatCode="#,##0">
                  <c:v>20893</c:v>
                </c:pt>
                <c:pt idx="510" formatCode="#,##0">
                  <c:v>14376</c:v>
                </c:pt>
                <c:pt idx="511" formatCode="#,##0">
                  <c:v>13294</c:v>
                </c:pt>
                <c:pt idx="512" formatCode="#,##0">
                  <c:v>12519</c:v>
                </c:pt>
                <c:pt idx="513" formatCode="#,##0">
                  <c:v>11688</c:v>
                </c:pt>
                <c:pt idx="514" formatCode="#,##0">
                  <c:v>5269</c:v>
                </c:pt>
                <c:pt idx="515" formatCode="#,##0">
                  <c:v>3486</c:v>
                </c:pt>
                <c:pt idx="516" formatCode="#,##0">
                  <c:v>17434</c:v>
                </c:pt>
                <c:pt idx="517" formatCode="#,##0">
                  <c:v>15007</c:v>
                </c:pt>
                <c:pt idx="518" formatCode="#,##0">
                  <c:v>14374</c:v>
                </c:pt>
                <c:pt idx="519" formatCode="#,##0">
                  <c:v>13634</c:v>
                </c:pt>
                <c:pt idx="520" formatCode="#,##0">
                  <c:v>12580</c:v>
                </c:pt>
                <c:pt idx="521" formatCode="#,##0">
                  <c:v>5198</c:v>
                </c:pt>
                <c:pt idx="522" formatCode="#,##0">
                  <c:v>3618</c:v>
                </c:pt>
                <c:pt idx="523" formatCode="#,##0">
                  <c:v>4628</c:v>
                </c:pt>
                <c:pt idx="524" formatCode="#,##0">
                  <c:v>19360</c:v>
                </c:pt>
                <c:pt idx="525" formatCode="#,##0">
                  <c:v>16643</c:v>
                </c:pt>
                <c:pt idx="526" formatCode="#,##0">
                  <c:v>15330</c:v>
                </c:pt>
                <c:pt idx="527" formatCode="#,##0">
                  <c:v>12994</c:v>
                </c:pt>
                <c:pt idx="528" formatCode="#,##0">
                  <c:v>5124</c:v>
                </c:pt>
                <c:pt idx="529" formatCode="#,##0">
                  <c:v>3505</c:v>
                </c:pt>
                <c:pt idx="530" formatCode="#,##0">
                  <c:v>19172</c:v>
                </c:pt>
                <c:pt idx="531" formatCode="#,##0">
                  <c:v>16764</c:v>
                </c:pt>
                <c:pt idx="532" formatCode="#,##0">
                  <c:v>16060</c:v>
                </c:pt>
                <c:pt idx="533" formatCode="#,##0">
                  <c:v>14757</c:v>
                </c:pt>
                <c:pt idx="534" formatCode="#,##0">
                  <c:v>12949</c:v>
                </c:pt>
                <c:pt idx="535" formatCode="#,##0">
                  <c:v>5037</c:v>
                </c:pt>
                <c:pt idx="536" formatCode="#,##0">
                  <c:v>3225</c:v>
                </c:pt>
                <c:pt idx="537" formatCode="#,##0">
                  <c:v>17051</c:v>
                </c:pt>
                <c:pt idx="538" formatCode="#,##0">
                  <c:v>14686</c:v>
                </c:pt>
                <c:pt idx="539" formatCode="#,##0">
                  <c:v>12894</c:v>
                </c:pt>
                <c:pt idx="540" formatCode="#,##0">
                  <c:v>11574</c:v>
                </c:pt>
                <c:pt idx="541" formatCode="#,##0">
                  <c:v>9726</c:v>
                </c:pt>
                <c:pt idx="542" formatCode="#,##0">
                  <c:v>3366</c:v>
                </c:pt>
                <c:pt idx="543" formatCode="#,##0">
                  <c:v>2398</c:v>
                </c:pt>
                <c:pt idx="544" formatCode="#,##0">
                  <c:v>12052</c:v>
                </c:pt>
                <c:pt idx="545" formatCode="#,##0">
                  <c:v>9667</c:v>
                </c:pt>
                <c:pt idx="546" formatCode="#,##0">
                  <c:v>8757</c:v>
                </c:pt>
                <c:pt idx="547" formatCode="#,##0">
                  <c:v>8026</c:v>
                </c:pt>
                <c:pt idx="548" formatCode="#,##0">
                  <c:v>6760</c:v>
                </c:pt>
                <c:pt idx="549" formatCode="#,##0">
                  <c:v>2795</c:v>
                </c:pt>
                <c:pt idx="550" formatCode="#,##0">
                  <c:v>2041</c:v>
                </c:pt>
                <c:pt idx="551" formatCode="#,##0">
                  <c:v>8567</c:v>
                </c:pt>
                <c:pt idx="552" formatCode="#,##0">
                  <c:v>6213</c:v>
                </c:pt>
                <c:pt idx="553" formatCode="#,##0">
                  <c:v>5828</c:v>
                </c:pt>
                <c:pt idx="554" formatCode="#,##0">
                  <c:v>5357</c:v>
                </c:pt>
                <c:pt idx="555" formatCode="#,##0">
                  <c:v>4732</c:v>
                </c:pt>
                <c:pt idx="556" formatCode="#,##0">
                  <c:v>1969</c:v>
                </c:pt>
                <c:pt idx="557" formatCode="#,##0">
                  <c:v>1291</c:v>
                </c:pt>
                <c:pt idx="558" formatCode="#,##0">
                  <c:v>5693</c:v>
                </c:pt>
                <c:pt idx="559" formatCode="#,##0">
                  <c:v>4476</c:v>
                </c:pt>
                <c:pt idx="560" formatCode="#,##0">
                  <c:v>3695</c:v>
                </c:pt>
                <c:pt idx="561" formatCode="#,##0">
                  <c:v>3017</c:v>
                </c:pt>
                <c:pt idx="562" formatCode="#,##0">
                  <c:v>2441</c:v>
                </c:pt>
                <c:pt idx="563" formatCode="#,##0">
                  <c:v>1069</c:v>
                </c:pt>
                <c:pt idx="564">
                  <c:v>758</c:v>
                </c:pt>
                <c:pt idx="565" formatCode="#,##0">
                  <c:v>3645</c:v>
                </c:pt>
                <c:pt idx="566" formatCode="#,##0">
                  <c:v>2621</c:v>
                </c:pt>
                <c:pt idx="567" formatCode="#,##0">
                  <c:v>2228</c:v>
                </c:pt>
                <c:pt idx="568" formatCode="#,##0">
                  <c:v>1939</c:v>
                </c:pt>
                <c:pt idx="569">
                  <c:v>648</c:v>
                </c:pt>
                <c:pt idx="570">
                  <c:v>672</c:v>
                </c:pt>
                <c:pt idx="571">
                  <c:v>558</c:v>
                </c:pt>
                <c:pt idx="572" formatCode="#,##0">
                  <c:v>2316</c:v>
                </c:pt>
                <c:pt idx="573" formatCode="#,##0">
                  <c:v>1700</c:v>
                </c:pt>
                <c:pt idx="574" formatCode="#,##0">
                  <c:v>1500</c:v>
                </c:pt>
                <c:pt idx="575" formatCode="#,##0">
                  <c:v>1182</c:v>
                </c:pt>
                <c:pt idx="576" formatCode="#,##0">
                  <c:v>1070</c:v>
                </c:pt>
                <c:pt idx="577">
                  <c:v>477</c:v>
                </c:pt>
                <c:pt idx="578">
                  <c:v>386</c:v>
                </c:pt>
                <c:pt idx="579" formatCode="#,##0">
                  <c:v>1358</c:v>
                </c:pt>
                <c:pt idx="580">
                  <c:v>960</c:v>
                </c:pt>
                <c:pt idx="581">
                  <c:v>945</c:v>
                </c:pt>
                <c:pt idx="582">
                  <c:v>853</c:v>
                </c:pt>
                <c:pt idx="583">
                  <c:v>718</c:v>
                </c:pt>
                <c:pt idx="584">
                  <c:v>363</c:v>
                </c:pt>
                <c:pt idx="585">
                  <c:v>248</c:v>
                </c:pt>
                <c:pt idx="586" formatCode="#,##0">
                  <c:v>1085</c:v>
                </c:pt>
                <c:pt idx="587">
                  <c:v>825</c:v>
                </c:pt>
                <c:pt idx="588">
                  <c:v>737</c:v>
                </c:pt>
                <c:pt idx="589">
                  <c:v>653</c:v>
                </c:pt>
                <c:pt idx="590">
                  <c:v>559</c:v>
                </c:pt>
                <c:pt idx="591">
                  <c:v>247</c:v>
                </c:pt>
                <c:pt idx="592">
                  <c:v>188</c:v>
                </c:pt>
                <c:pt idx="593">
                  <c:v>678</c:v>
                </c:pt>
                <c:pt idx="594">
                  <c:v>513</c:v>
                </c:pt>
                <c:pt idx="595">
                  <c:v>512</c:v>
                </c:pt>
                <c:pt idx="596">
                  <c:v>438</c:v>
                </c:pt>
                <c:pt idx="597">
                  <c:v>374</c:v>
                </c:pt>
                <c:pt idx="598">
                  <c:v>165</c:v>
                </c:pt>
                <c:pt idx="599">
                  <c:v>166</c:v>
                </c:pt>
                <c:pt idx="600">
                  <c:v>469</c:v>
                </c:pt>
                <c:pt idx="601">
                  <c:v>430</c:v>
                </c:pt>
                <c:pt idx="602">
                  <c:v>325</c:v>
                </c:pt>
                <c:pt idx="603">
                  <c:v>327</c:v>
                </c:pt>
                <c:pt idx="604">
                  <c:v>240</c:v>
                </c:pt>
                <c:pt idx="605">
                  <c:v>128</c:v>
                </c:pt>
                <c:pt idx="606">
                  <c:v>120</c:v>
                </c:pt>
                <c:pt idx="607">
                  <c:v>174</c:v>
                </c:pt>
                <c:pt idx="608">
                  <c:v>419</c:v>
                </c:pt>
                <c:pt idx="609">
                  <c:v>335</c:v>
                </c:pt>
                <c:pt idx="610">
                  <c:v>296</c:v>
                </c:pt>
                <c:pt idx="611">
                  <c:v>257</c:v>
                </c:pt>
                <c:pt idx="612">
                  <c:v>137</c:v>
                </c:pt>
                <c:pt idx="613">
                  <c:v>118</c:v>
                </c:pt>
                <c:pt idx="614">
                  <c:v>368</c:v>
                </c:pt>
                <c:pt idx="615">
                  <c:v>312</c:v>
                </c:pt>
                <c:pt idx="616">
                  <c:v>328</c:v>
                </c:pt>
                <c:pt idx="617">
                  <c:v>345</c:v>
                </c:pt>
                <c:pt idx="618">
                  <c:v>324</c:v>
                </c:pt>
                <c:pt idx="619">
                  <c:v>139</c:v>
                </c:pt>
                <c:pt idx="620">
                  <c:v>146</c:v>
                </c:pt>
                <c:pt idx="621">
                  <c:v>509</c:v>
                </c:pt>
                <c:pt idx="622">
                  <c:v>552</c:v>
                </c:pt>
                <c:pt idx="623">
                  <c:v>764</c:v>
                </c:pt>
                <c:pt idx="624">
                  <c:v>821</c:v>
                </c:pt>
                <c:pt idx="625">
                  <c:v>851</c:v>
                </c:pt>
                <c:pt idx="626">
                  <c:v>434</c:v>
                </c:pt>
                <c:pt idx="627">
                  <c:v>372</c:v>
                </c:pt>
                <c:pt idx="628" formatCode="#,##0">
                  <c:v>1706</c:v>
                </c:pt>
                <c:pt idx="629" formatCode="#,##0">
                  <c:v>2319</c:v>
                </c:pt>
                <c:pt idx="630" formatCode="#,##0">
                  <c:v>3162</c:v>
                </c:pt>
                <c:pt idx="631" formatCode="#,##0">
                  <c:v>3507</c:v>
                </c:pt>
                <c:pt idx="632" formatCode="#,##0">
                  <c:v>3683</c:v>
                </c:pt>
                <c:pt idx="633" formatCode="#,##0">
                  <c:v>1982</c:v>
                </c:pt>
                <c:pt idx="634" formatCode="#,##0">
                  <c:v>1804</c:v>
                </c:pt>
                <c:pt idx="635" formatCode="#,##0">
                  <c:v>9823</c:v>
                </c:pt>
                <c:pt idx="636" formatCode="#,##0">
                  <c:v>12870</c:v>
                </c:pt>
                <c:pt idx="637" formatCode="#,##0">
                  <c:v>16706</c:v>
                </c:pt>
                <c:pt idx="638" formatCode="#,##0">
                  <c:v>18191</c:v>
                </c:pt>
                <c:pt idx="639" formatCode="#,##0">
                  <c:v>18037</c:v>
                </c:pt>
                <c:pt idx="640" formatCode="#,##0">
                  <c:v>8161</c:v>
                </c:pt>
                <c:pt idx="641" formatCode="#,##0">
                  <c:v>5228</c:v>
                </c:pt>
                <c:pt idx="642" formatCode="#,##0">
                  <c:v>25720</c:v>
                </c:pt>
                <c:pt idx="643" formatCode="#,##0">
                  <c:v>26315</c:v>
                </c:pt>
                <c:pt idx="644" formatCode="#,##0">
                  <c:v>28317</c:v>
                </c:pt>
                <c:pt idx="645" formatCode="#,##0">
                  <c:v>27529</c:v>
                </c:pt>
                <c:pt idx="646" formatCode="#,##0">
                  <c:v>24834</c:v>
                </c:pt>
                <c:pt idx="647" formatCode="#,##0">
                  <c:v>10952</c:v>
                </c:pt>
                <c:pt idx="648" formatCode="#,##0">
                  <c:v>7814</c:v>
                </c:pt>
                <c:pt idx="649" formatCode="#,##0">
                  <c:v>31551</c:v>
                </c:pt>
                <c:pt idx="650" formatCode="#,##0">
                  <c:v>27335</c:v>
                </c:pt>
                <c:pt idx="651" formatCode="#,##0">
                  <c:v>25784</c:v>
                </c:pt>
                <c:pt idx="652" formatCode="#,##0">
                  <c:v>8674</c:v>
                </c:pt>
                <c:pt idx="653" formatCode="#,##0">
                  <c:v>21073</c:v>
                </c:pt>
                <c:pt idx="654" formatCode="#,##0">
                  <c:v>9542</c:v>
                </c:pt>
                <c:pt idx="655" formatCode="#,##0">
                  <c:v>6821</c:v>
                </c:pt>
                <c:pt idx="656" formatCode="#,##0">
                  <c:v>23727</c:v>
                </c:pt>
                <c:pt idx="657" formatCode="#,##0">
                  <c:v>20758</c:v>
                </c:pt>
                <c:pt idx="658" formatCode="#,##0">
                  <c:v>18910</c:v>
                </c:pt>
                <c:pt idx="659" formatCode="#,##0">
                  <c:v>15253</c:v>
                </c:pt>
                <c:pt idx="660" formatCode="#,##0">
                  <c:v>10651</c:v>
                </c:pt>
                <c:pt idx="661" formatCode="#,##0">
                  <c:v>3369</c:v>
                </c:pt>
                <c:pt idx="662" formatCode="#,##0">
                  <c:v>4256</c:v>
                </c:pt>
                <c:pt idx="663" formatCode="#,##0">
                  <c:v>6014</c:v>
                </c:pt>
                <c:pt idx="664" formatCode="#,##0">
                  <c:v>13629</c:v>
                </c:pt>
                <c:pt idx="665" formatCode="#,##0">
                  <c:v>11644</c:v>
                </c:pt>
                <c:pt idx="666" formatCode="#,##0">
                  <c:v>10315</c:v>
                </c:pt>
                <c:pt idx="667" formatCode="#,##0">
                  <c:v>7627</c:v>
                </c:pt>
                <c:pt idx="668" formatCode="#,##0">
                  <c:v>2776</c:v>
                </c:pt>
                <c:pt idx="669" formatCode="#,##0">
                  <c:v>3676</c:v>
                </c:pt>
                <c:pt idx="670" formatCode="#,##0">
                  <c:v>11869</c:v>
                </c:pt>
                <c:pt idx="671" formatCode="#,##0">
                  <c:v>9919</c:v>
                </c:pt>
                <c:pt idx="672" formatCode="#,##0">
                  <c:v>8922</c:v>
                </c:pt>
                <c:pt idx="673" formatCode="#,##0">
                  <c:v>7568</c:v>
                </c:pt>
                <c:pt idx="674" formatCode="#,##0">
                  <c:v>6583</c:v>
                </c:pt>
                <c:pt idx="675" formatCode="#,##0">
                  <c:v>3105</c:v>
                </c:pt>
                <c:pt idx="676" formatCode="#,##0">
                  <c:v>2244</c:v>
                </c:pt>
                <c:pt idx="677" formatCode="#,##0">
                  <c:v>7281</c:v>
                </c:pt>
                <c:pt idx="678" formatCode="#,##0">
                  <c:v>5339</c:v>
                </c:pt>
                <c:pt idx="679" formatCode="#,##0">
                  <c:v>4699</c:v>
                </c:pt>
                <c:pt idx="680" formatCode="#,##0">
                  <c:v>4142</c:v>
                </c:pt>
                <c:pt idx="681" formatCode="#,##0">
                  <c:v>3609</c:v>
                </c:pt>
                <c:pt idx="682" formatCode="#,##0">
                  <c:v>1883</c:v>
                </c:pt>
                <c:pt idx="683" formatCode="#,##0">
                  <c:v>1481</c:v>
                </c:pt>
                <c:pt idx="684" formatCode="#,##0">
                  <c:v>4517</c:v>
                </c:pt>
                <c:pt idx="685" formatCode="#,##0">
                  <c:v>3553</c:v>
                </c:pt>
                <c:pt idx="686" formatCode="#,##0">
                  <c:v>3244</c:v>
                </c:pt>
                <c:pt idx="687" formatCode="#,##0">
                  <c:v>3036</c:v>
                </c:pt>
                <c:pt idx="688" formatCode="#,##0">
                  <c:v>2790</c:v>
                </c:pt>
                <c:pt idx="689" formatCode="#,##0">
                  <c:v>1508</c:v>
                </c:pt>
                <c:pt idx="690" formatCode="#,##0">
                  <c:v>1358</c:v>
                </c:pt>
                <c:pt idx="691" formatCode="#,##0">
                  <c:v>4746</c:v>
                </c:pt>
                <c:pt idx="692" formatCode="#,##0">
                  <c:v>4049</c:v>
                </c:pt>
                <c:pt idx="693" formatCode="#,##0">
                  <c:v>3642</c:v>
                </c:pt>
                <c:pt idx="694" formatCode="#,##0">
                  <c:v>3403</c:v>
                </c:pt>
                <c:pt idx="695" formatCode="#,##0">
                  <c:v>2953</c:v>
                </c:pt>
                <c:pt idx="696" formatCode="#,##0">
                  <c:v>1659</c:v>
                </c:pt>
                <c:pt idx="697" formatCode="#,##0">
                  <c:v>1252</c:v>
                </c:pt>
                <c:pt idx="698" formatCode="#,##0">
                  <c:v>5111</c:v>
                </c:pt>
                <c:pt idx="699" formatCode="#,##0">
                  <c:v>3579</c:v>
                </c:pt>
                <c:pt idx="700" formatCode="#,##0">
                  <c:v>3235</c:v>
                </c:pt>
                <c:pt idx="701" formatCode="#,##0">
                  <c:v>2912</c:v>
                </c:pt>
                <c:pt idx="702" formatCode="#,##0">
                  <c:v>2474</c:v>
                </c:pt>
                <c:pt idx="703" formatCode="#,##0">
                  <c:v>1323</c:v>
                </c:pt>
                <c:pt idx="704" formatCode="#,##0">
                  <c:v>1113</c:v>
                </c:pt>
                <c:pt idx="705" formatCode="#,##0">
                  <c:v>4010</c:v>
                </c:pt>
                <c:pt idx="706" formatCode="#,##0">
                  <c:v>3005</c:v>
                </c:pt>
                <c:pt idx="707" formatCode="#,##0">
                  <c:v>2922</c:v>
                </c:pt>
                <c:pt idx="708" formatCode="#,##0">
                  <c:v>2588</c:v>
                </c:pt>
                <c:pt idx="709" formatCode="#,##0">
                  <c:v>2294</c:v>
                </c:pt>
                <c:pt idx="710" formatCode="#,##0">
                  <c:v>1259</c:v>
                </c:pt>
                <c:pt idx="711" formatCode="#,##0">
                  <c:v>1091</c:v>
                </c:pt>
                <c:pt idx="712" formatCode="#,##0">
                  <c:v>3664</c:v>
                </c:pt>
                <c:pt idx="713" formatCode="#,##0">
                  <c:v>3008</c:v>
                </c:pt>
                <c:pt idx="714" formatCode="#,##0">
                  <c:v>2758</c:v>
                </c:pt>
                <c:pt idx="715" formatCode="#,##0">
                  <c:v>2488</c:v>
                </c:pt>
                <c:pt idx="716" formatCode="#,##0">
                  <c:v>2112</c:v>
                </c:pt>
                <c:pt idx="717" formatCode="#,##0">
                  <c:v>1057</c:v>
                </c:pt>
                <c:pt idx="718">
                  <c:v>917</c:v>
                </c:pt>
                <c:pt idx="719" formatCode="#,##0">
                  <c:v>3344</c:v>
                </c:pt>
                <c:pt idx="720" formatCode="#,##0">
                  <c:v>2448</c:v>
                </c:pt>
                <c:pt idx="721" formatCode="#,##0">
                  <c:v>2384</c:v>
                </c:pt>
                <c:pt idx="722" formatCode="#,##0">
                  <c:v>2070</c:v>
                </c:pt>
                <c:pt idx="723" formatCode="#,##0">
                  <c:v>1675</c:v>
                </c:pt>
                <c:pt idx="724">
                  <c:v>916</c:v>
                </c:pt>
                <c:pt idx="725">
                  <c:v>667</c:v>
                </c:pt>
                <c:pt idx="726" formatCode="#,##0">
                  <c:v>2372</c:v>
                </c:pt>
                <c:pt idx="727" formatCode="#,##0">
                  <c:v>1884</c:v>
                </c:pt>
                <c:pt idx="728" formatCode="#,##0">
                  <c:v>2007</c:v>
                </c:pt>
                <c:pt idx="729" formatCode="#,##0">
                  <c:v>1784</c:v>
                </c:pt>
                <c:pt idx="730" formatCode="#,##0">
                  <c:v>1489</c:v>
                </c:pt>
                <c:pt idx="731">
                  <c:v>866</c:v>
                </c:pt>
                <c:pt idx="732">
                  <c:v>616</c:v>
                </c:pt>
                <c:pt idx="733" formatCode="#,##0">
                  <c:v>2253</c:v>
                </c:pt>
                <c:pt idx="734" formatCode="#,##0">
                  <c:v>1668</c:v>
                </c:pt>
                <c:pt idx="735" formatCode="#,##0">
                  <c:v>1625</c:v>
                </c:pt>
                <c:pt idx="736" formatCode="#,##0">
                  <c:v>1509</c:v>
                </c:pt>
                <c:pt idx="737" formatCode="#,##0">
                  <c:v>1384</c:v>
                </c:pt>
                <c:pt idx="738">
                  <c:v>756</c:v>
                </c:pt>
                <c:pt idx="739">
                  <c:v>666</c:v>
                </c:pt>
                <c:pt idx="740" formatCode="#,##0">
                  <c:v>2092</c:v>
                </c:pt>
                <c:pt idx="741" formatCode="#,##0">
                  <c:v>1586</c:v>
                </c:pt>
                <c:pt idx="742" formatCode="#,##0">
                  <c:v>1555</c:v>
                </c:pt>
                <c:pt idx="743" formatCode="#,##0">
                  <c:v>1373</c:v>
                </c:pt>
                <c:pt idx="744" formatCode="#,##0">
                  <c:v>1192</c:v>
                </c:pt>
                <c:pt idx="745">
                  <c:v>664</c:v>
                </c:pt>
                <c:pt idx="746">
                  <c:v>582</c:v>
                </c:pt>
                <c:pt idx="747">
                  <c:v>817</c:v>
                </c:pt>
                <c:pt idx="748" formatCode="#,##0">
                  <c:v>2132</c:v>
                </c:pt>
                <c:pt idx="749" formatCode="#,##0">
                  <c:v>1742</c:v>
                </c:pt>
                <c:pt idx="750" formatCode="#,##0">
                  <c:v>1412</c:v>
                </c:pt>
                <c:pt idx="751" formatCode="#,##0">
                  <c:v>1328</c:v>
                </c:pt>
                <c:pt idx="752">
                  <c:v>755</c:v>
                </c:pt>
                <c:pt idx="753">
                  <c:v>559</c:v>
                </c:pt>
                <c:pt idx="754" formatCode="#,##0">
                  <c:v>1991</c:v>
                </c:pt>
                <c:pt idx="755" formatCode="#,##0">
                  <c:v>1543</c:v>
                </c:pt>
                <c:pt idx="756" formatCode="#,##0">
                  <c:v>1769</c:v>
                </c:pt>
                <c:pt idx="757" formatCode="#,##0">
                  <c:v>1537</c:v>
                </c:pt>
                <c:pt idx="758" formatCode="#,##0">
                  <c:v>1224</c:v>
                </c:pt>
                <c:pt idx="759">
                  <c:v>822</c:v>
                </c:pt>
                <c:pt idx="760">
                  <c:v>612</c:v>
                </c:pt>
                <c:pt idx="761" formatCode="#,##0">
                  <c:v>2102</c:v>
                </c:pt>
                <c:pt idx="762" formatCode="#,##0">
                  <c:v>1728</c:v>
                </c:pt>
                <c:pt idx="763" formatCode="#,##0">
                  <c:v>1814</c:v>
                </c:pt>
                <c:pt idx="764" formatCode="#,##0">
                  <c:v>1595</c:v>
                </c:pt>
                <c:pt idx="765" formatCode="#,##0">
                  <c:v>1303</c:v>
                </c:pt>
                <c:pt idx="766">
                  <c:v>813</c:v>
                </c:pt>
                <c:pt idx="767">
                  <c:v>658</c:v>
                </c:pt>
                <c:pt idx="768" formatCode="#,##0">
                  <c:v>2258</c:v>
                </c:pt>
                <c:pt idx="769" formatCode="#,##0">
                  <c:v>1974</c:v>
                </c:pt>
                <c:pt idx="770" formatCode="#,##0">
                  <c:v>2380</c:v>
                </c:pt>
                <c:pt idx="771" formatCode="#,##0">
                  <c:v>2080</c:v>
                </c:pt>
                <c:pt idx="772">
                  <c:v>865</c:v>
                </c:pt>
                <c:pt idx="773" formatCode="#,##0">
                  <c:v>1209</c:v>
                </c:pt>
                <c:pt idx="774">
                  <c:v>910</c:v>
                </c:pt>
                <c:pt idx="775" formatCode="#,##0">
                  <c:v>1459</c:v>
                </c:pt>
                <c:pt idx="776" formatCode="#,##0">
                  <c:v>4638</c:v>
                </c:pt>
                <c:pt idx="777" formatCode="#,##0">
                  <c:v>4535</c:v>
                </c:pt>
                <c:pt idx="778" formatCode="#,##0">
                  <c:v>4555</c:v>
                </c:pt>
                <c:pt idx="779" formatCode="#,##0">
                  <c:v>4374</c:v>
                </c:pt>
                <c:pt idx="780" formatCode="#,##0">
                  <c:v>2514</c:v>
                </c:pt>
                <c:pt idx="781" formatCode="#,##0">
                  <c:v>2101</c:v>
                </c:pt>
                <c:pt idx="782" formatCode="#,##0">
                  <c:v>7013</c:v>
                </c:pt>
                <c:pt idx="783" formatCode="#,##0">
                  <c:v>5992</c:v>
                </c:pt>
                <c:pt idx="784" formatCode="#,##0">
                  <c:v>2798</c:v>
                </c:pt>
                <c:pt idx="785" formatCode="#,##0">
                  <c:v>7030</c:v>
                </c:pt>
                <c:pt idx="786" formatCode="#,##0">
                  <c:v>5678</c:v>
                </c:pt>
                <c:pt idx="787" formatCode="#,##0">
                  <c:v>3188</c:v>
                </c:pt>
                <c:pt idx="788" formatCode="#,##0">
                  <c:v>2569</c:v>
                </c:pt>
                <c:pt idx="789" formatCode="#,##0">
                  <c:v>3540</c:v>
                </c:pt>
                <c:pt idx="790" formatCode="#,##0">
                  <c:v>10553</c:v>
                </c:pt>
                <c:pt idx="791" formatCode="#,##0">
                  <c:v>9867</c:v>
                </c:pt>
                <c:pt idx="792" formatCode="#,##0">
                  <c:v>8802</c:v>
                </c:pt>
                <c:pt idx="793" formatCode="#,##0">
                  <c:v>8323</c:v>
                </c:pt>
                <c:pt idx="794" formatCode="#,##0">
                  <c:v>3930</c:v>
                </c:pt>
                <c:pt idx="795" formatCode="#,##0">
                  <c:v>2767</c:v>
                </c:pt>
                <c:pt idx="796" formatCode="#,##0">
                  <c:v>11110</c:v>
                </c:pt>
                <c:pt idx="797" formatCode="#,##0">
                  <c:v>9133</c:v>
                </c:pt>
                <c:pt idx="798" formatCode="#,##0">
                  <c:v>8685</c:v>
                </c:pt>
                <c:pt idx="799" formatCode="#,##0">
                  <c:v>7751</c:v>
                </c:pt>
                <c:pt idx="800" formatCode="#,##0">
                  <c:v>6519</c:v>
                </c:pt>
                <c:pt idx="801" formatCode="#,##0">
                  <c:v>3006</c:v>
                </c:pt>
                <c:pt idx="802" formatCode="#,##0">
                  <c:v>2367</c:v>
                </c:pt>
                <c:pt idx="803" formatCode="#,##0">
                  <c:v>9634</c:v>
                </c:pt>
                <c:pt idx="804" formatCode="#,##0">
                  <c:v>7318</c:v>
                </c:pt>
                <c:pt idx="805" formatCode="#,##0">
                  <c:v>6634</c:v>
                </c:pt>
                <c:pt idx="806" formatCode="#,##0">
                  <c:v>5315</c:v>
                </c:pt>
                <c:pt idx="807" formatCode="#,##0">
                  <c:v>4379</c:v>
                </c:pt>
                <c:pt idx="808" formatCode="#,##0">
                  <c:v>2104</c:v>
                </c:pt>
                <c:pt idx="809" formatCode="#,##0">
                  <c:v>1539</c:v>
                </c:pt>
                <c:pt idx="810" formatCode="#,##0">
                  <c:v>5956</c:v>
                </c:pt>
                <c:pt idx="811" formatCode="#,##0">
                  <c:v>4459</c:v>
                </c:pt>
                <c:pt idx="812" formatCode="#,##0">
                  <c:v>3877</c:v>
                </c:pt>
                <c:pt idx="813" formatCode="#,##0">
                  <c:v>3270</c:v>
                </c:pt>
                <c:pt idx="814" formatCode="#,##0">
                  <c:v>2649</c:v>
                </c:pt>
                <c:pt idx="815" formatCode="#,##0">
                  <c:v>1346</c:v>
                </c:pt>
                <c:pt idx="816" formatCode="#,##0">
                  <c:v>1009</c:v>
                </c:pt>
                <c:pt idx="817" formatCode="#,##0">
                  <c:v>3596</c:v>
                </c:pt>
                <c:pt idx="818" formatCode="#,##0">
                  <c:v>2439</c:v>
                </c:pt>
                <c:pt idx="819" formatCode="#,##0">
                  <c:v>2276</c:v>
                </c:pt>
                <c:pt idx="820" formatCode="#,##0">
                  <c:v>1925</c:v>
                </c:pt>
                <c:pt idx="821" formatCode="#,##0">
                  <c:v>1706</c:v>
                </c:pt>
                <c:pt idx="822">
                  <c:v>770</c:v>
                </c:pt>
                <c:pt idx="823">
                  <c:v>741</c:v>
                </c:pt>
                <c:pt idx="824" formatCode="#,##0">
                  <c:v>2273</c:v>
                </c:pt>
                <c:pt idx="825" formatCode="#,##0">
                  <c:v>1786</c:v>
                </c:pt>
                <c:pt idx="826" formatCode="#,##0">
                  <c:v>1634</c:v>
                </c:pt>
                <c:pt idx="827" formatCode="#,##0">
                  <c:v>1365</c:v>
                </c:pt>
                <c:pt idx="828" formatCode="#,##0">
                  <c:v>1157</c:v>
                </c:pt>
                <c:pt idx="829">
                  <c:v>648</c:v>
                </c:pt>
                <c:pt idx="830">
                  <c:v>521</c:v>
                </c:pt>
                <c:pt idx="831" formatCode="#,##0">
                  <c:v>1462</c:v>
                </c:pt>
                <c:pt idx="832" formatCode="#,##0">
                  <c:v>1011</c:v>
                </c:pt>
                <c:pt idx="833">
                  <c:v>864</c:v>
                </c:pt>
                <c:pt idx="834">
                  <c:v>348</c:v>
                </c:pt>
                <c:pt idx="835">
                  <c:v>789</c:v>
                </c:pt>
                <c:pt idx="836">
                  <c:v>377</c:v>
                </c:pt>
                <c:pt idx="837">
                  <c:v>322</c:v>
                </c:pt>
                <c:pt idx="838" formatCode="#,##0">
                  <c:v>1033</c:v>
                </c:pt>
                <c:pt idx="839">
                  <c:v>710</c:v>
                </c:pt>
                <c:pt idx="840">
                  <c:v>714</c:v>
                </c:pt>
                <c:pt idx="841">
                  <c:v>527</c:v>
                </c:pt>
                <c:pt idx="842">
                  <c:v>409</c:v>
                </c:pt>
                <c:pt idx="843">
                  <c:v>224</c:v>
                </c:pt>
                <c:pt idx="844">
                  <c:v>183</c:v>
                </c:pt>
                <c:pt idx="845">
                  <c:v>498</c:v>
                </c:pt>
                <c:pt idx="846">
                  <c:v>429</c:v>
                </c:pt>
                <c:pt idx="847">
                  <c:v>402</c:v>
                </c:pt>
                <c:pt idx="848">
                  <c:v>318</c:v>
                </c:pt>
                <c:pt idx="849">
                  <c:v>370</c:v>
                </c:pt>
                <c:pt idx="850">
                  <c:v>198</c:v>
                </c:pt>
                <c:pt idx="851">
                  <c:v>190</c:v>
                </c:pt>
                <c:pt idx="852">
                  <c:v>481</c:v>
                </c:pt>
                <c:pt idx="853">
                  <c:v>406</c:v>
                </c:pt>
                <c:pt idx="854">
                  <c:v>364</c:v>
                </c:pt>
                <c:pt idx="855">
                  <c:v>383</c:v>
                </c:pt>
                <c:pt idx="856">
                  <c:v>309</c:v>
                </c:pt>
                <c:pt idx="857">
                  <c:v>189</c:v>
                </c:pt>
                <c:pt idx="858">
                  <c:v>155</c:v>
                </c:pt>
                <c:pt idx="859">
                  <c:v>457</c:v>
                </c:pt>
                <c:pt idx="860">
                  <c:v>366</c:v>
                </c:pt>
                <c:pt idx="861">
                  <c:v>334</c:v>
                </c:pt>
                <c:pt idx="862">
                  <c:v>352</c:v>
                </c:pt>
                <c:pt idx="863">
                  <c:v>305</c:v>
                </c:pt>
                <c:pt idx="864">
                  <c:v>163</c:v>
                </c:pt>
                <c:pt idx="865">
                  <c:v>157</c:v>
                </c:pt>
                <c:pt idx="866">
                  <c:v>387</c:v>
                </c:pt>
                <c:pt idx="867">
                  <c:v>320</c:v>
                </c:pt>
                <c:pt idx="868">
                  <c:v>307</c:v>
                </c:pt>
                <c:pt idx="869">
                  <c:v>276</c:v>
                </c:pt>
                <c:pt idx="870">
                  <c:v>340</c:v>
                </c:pt>
                <c:pt idx="871">
                  <c:v>150</c:v>
                </c:pt>
                <c:pt idx="872">
                  <c:v>140</c:v>
                </c:pt>
                <c:pt idx="873">
                  <c:v>387</c:v>
                </c:pt>
                <c:pt idx="874">
                  <c:v>316</c:v>
                </c:pt>
                <c:pt idx="875">
                  <c:v>300</c:v>
                </c:pt>
                <c:pt idx="876">
                  <c:v>284</c:v>
                </c:pt>
                <c:pt idx="877">
                  <c:v>243</c:v>
                </c:pt>
                <c:pt idx="878">
                  <c:v>144</c:v>
                </c:pt>
                <c:pt idx="879">
                  <c:v>109</c:v>
                </c:pt>
                <c:pt idx="880">
                  <c:v>317</c:v>
                </c:pt>
                <c:pt idx="881">
                  <c:v>243</c:v>
                </c:pt>
                <c:pt idx="882">
                  <c:v>284</c:v>
                </c:pt>
                <c:pt idx="883">
                  <c:v>281</c:v>
                </c:pt>
                <c:pt idx="884">
                  <c:v>228</c:v>
                </c:pt>
                <c:pt idx="885">
                  <c:v>108</c:v>
                </c:pt>
                <c:pt idx="886">
                  <c:v>81</c:v>
                </c:pt>
                <c:pt idx="887">
                  <c:v>299</c:v>
                </c:pt>
                <c:pt idx="888">
                  <c:v>138</c:v>
                </c:pt>
                <c:pt idx="889">
                  <c:v>345</c:v>
                </c:pt>
                <c:pt idx="890">
                  <c:v>271</c:v>
                </c:pt>
                <c:pt idx="891">
                  <c:v>238</c:v>
                </c:pt>
                <c:pt idx="892">
                  <c:v>106</c:v>
                </c:pt>
                <c:pt idx="893">
                  <c:v>99</c:v>
                </c:pt>
                <c:pt idx="894">
                  <c:v>335</c:v>
                </c:pt>
                <c:pt idx="895">
                  <c:v>268</c:v>
                </c:pt>
                <c:pt idx="896">
                  <c:v>239</c:v>
                </c:pt>
                <c:pt idx="897">
                  <c:v>221</c:v>
                </c:pt>
                <c:pt idx="898">
                  <c:v>187</c:v>
                </c:pt>
                <c:pt idx="899">
                  <c:v>103</c:v>
                </c:pt>
                <c:pt idx="900">
                  <c:v>95</c:v>
                </c:pt>
                <c:pt idx="901">
                  <c:v>269</c:v>
                </c:pt>
                <c:pt idx="902">
                  <c:v>259</c:v>
                </c:pt>
                <c:pt idx="903">
                  <c:v>218</c:v>
                </c:pt>
                <c:pt idx="904">
                  <c:v>211</c:v>
                </c:pt>
                <c:pt idx="905">
                  <c:v>183</c:v>
                </c:pt>
                <c:pt idx="906">
                  <c:v>108</c:v>
                </c:pt>
                <c:pt idx="907">
                  <c:v>67</c:v>
                </c:pt>
                <c:pt idx="908">
                  <c:v>278</c:v>
                </c:pt>
                <c:pt idx="909">
                  <c:v>252</c:v>
                </c:pt>
                <c:pt idx="910">
                  <c:v>242</c:v>
                </c:pt>
                <c:pt idx="911">
                  <c:v>202</c:v>
                </c:pt>
                <c:pt idx="912">
                  <c:v>171</c:v>
                </c:pt>
                <c:pt idx="913">
                  <c:v>114</c:v>
                </c:pt>
                <c:pt idx="914">
                  <c:v>93</c:v>
                </c:pt>
                <c:pt idx="915">
                  <c:v>304</c:v>
                </c:pt>
                <c:pt idx="916">
                  <c:v>286</c:v>
                </c:pt>
                <c:pt idx="917">
                  <c:v>257</c:v>
                </c:pt>
                <c:pt idx="918">
                  <c:v>243</c:v>
                </c:pt>
                <c:pt idx="919">
                  <c:v>223</c:v>
                </c:pt>
                <c:pt idx="920">
                  <c:v>100</c:v>
                </c:pt>
                <c:pt idx="921">
                  <c:v>92</c:v>
                </c:pt>
                <c:pt idx="922">
                  <c:v>322</c:v>
                </c:pt>
                <c:pt idx="923">
                  <c:v>305</c:v>
                </c:pt>
                <c:pt idx="924">
                  <c:v>306</c:v>
                </c:pt>
                <c:pt idx="925">
                  <c:v>265</c:v>
                </c:pt>
                <c:pt idx="926">
                  <c:v>215</c:v>
                </c:pt>
                <c:pt idx="927">
                  <c:v>137</c:v>
                </c:pt>
                <c:pt idx="928">
                  <c:v>132</c:v>
                </c:pt>
                <c:pt idx="929">
                  <c:v>325</c:v>
                </c:pt>
                <c:pt idx="930">
                  <c:v>267</c:v>
                </c:pt>
                <c:pt idx="931">
                  <c:v>281</c:v>
                </c:pt>
                <c:pt idx="932">
                  <c:v>244</c:v>
                </c:pt>
                <c:pt idx="933">
                  <c:v>231</c:v>
                </c:pt>
                <c:pt idx="934">
                  <c:v>130</c:v>
                </c:pt>
                <c:pt idx="935">
                  <c:v>132</c:v>
                </c:pt>
                <c:pt idx="936">
                  <c:v>391</c:v>
                </c:pt>
                <c:pt idx="937">
                  <c:v>340</c:v>
                </c:pt>
                <c:pt idx="938">
                  <c:v>331</c:v>
                </c:pt>
                <c:pt idx="939">
                  <c:v>307</c:v>
                </c:pt>
                <c:pt idx="940">
                  <c:v>257</c:v>
                </c:pt>
                <c:pt idx="941">
                  <c:v>70</c:v>
                </c:pt>
                <c:pt idx="942">
                  <c:v>101</c:v>
                </c:pt>
                <c:pt idx="943">
                  <c:v>383</c:v>
                </c:pt>
                <c:pt idx="944">
                  <c:v>345</c:v>
                </c:pt>
                <c:pt idx="945">
                  <c:v>356</c:v>
                </c:pt>
                <c:pt idx="946">
                  <c:v>340</c:v>
                </c:pt>
                <c:pt idx="947">
                  <c:v>290</c:v>
                </c:pt>
                <c:pt idx="948">
                  <c:v>172</c:v>
                </c:pt>
                <c:pt idx="949">
                  <c:v>146</c:v>
                </c:pt>
                <c:pt idx="950">
                  <c:v>504</c:v>
                </c:pt>
                <c:pt idx="951">
                  <c:v>443</c:v>
                </c:pt>
                <c:pt idx="952">
                  <c:v>488</c:v>
                </c:pt>
                <c:pt idx="953">
                  <c:v>421</c:v>
                </c:pt>
                <c:pt idx="954">
                  <c:v>364</c:v>
                </c:pt>
                <c:pt idx="955">
                  <c:v>224</c:v>
                </c:pt>
                <c:pt idx="956">
                  <c:v>152</c:v>
                </c:pt>
                <c:pt idx="957">
                  <c:v>494</c:v>
                </c:pt>
                <c:pt idx="958">
                  <c:v>482</c:v>
                </c:pt>
                <c:pt idx="959">
                  <c:v>459</c:v>
                </c:pt>
                <c:pt idx="960">
                  <c:v>421</c:v>
                </c:pt>
                <c:pt idx="961">
                  <c:v>366</c:v>
                </c:pt>
                <c:pt idx="962">
                  <c:v>150</c:v>
                </c:pt>
                <c:pt idx="963">
                  <c:v>145</c:v>
                </c:pt>
                <c:pt idx="964">
                  <c:v>488</c:v>
                </c:pt>
                <c:pt idx="965">
                  <c:v>416</c:v>
                </c:pt>
                <c:pt idx="966">
                  <c:v>446</c:v>
                </c:pt>
                <c:pt idx="967">
                  <c:v>409</c:v>
                </c:pt>
                <c:pt idx="968">
                  <c:v>355</c:v>
                </c:pt>
                <c:pt idx="969">
                  <c:v>168</c:v>
                </c:pt>
                <c:pt idx="970">
                  <c:v>170</c:v>
                </c:pt>
                <c:pt idx="971" formatCode="#,##0">
                  <c:v>526</c:v>
                </c:pt>
                <c:pt idx="972">
                  <c:v>428</c:v>
                </c:pt>
                <c:pt idx="973">
                  <c:v>452</c:v>
                </c:pt>
                <c:pt idx="974">
                  <c:v>462</c:v>
                </c:pt>
                <c:pt idx="975">
                  <c:v>371</c:v>
                </c:pt>
                <c:pt idx="976">
                  <c:v>229</c:v>
                </c:pt>
                <c:pt idx="977">
                  <c:v>194</c:v>
                </c:pt>
                <c:pt idx="978">
                  <c:v>671</c:v>
                </c:pt>
                <c:pt idx="979">
                  <c:v>538</c:v>
                </c:pt>
                <c:pt idx="980">
                  <c:v>548</c:v>
                </c:pt>
                <c:pt idx="981">
                  <c:v>559</c:v>
                </c:pt>
                <c:pt idx="982">
                  <c:v>468</c:v>
                </c:pt>
                <c:pt idx="983">
                  <c:v>221</c:v>
                </c:pt>
                <c:pt idx="984">
                  <c:v>179</c:v>
                </c:pt>
                <c:pt idx="985">
                  <c:v>668</c:v>
                </c:pt>
                <c:pt idx="986">
                  <c:v>526</c:v>
                </c:pt>
                <c:pt idx="987">
                  <c:v>516</c:v>
                </c:pt>
                <c:pt idx="988">
                  <c:v>448</c:v>
                </c:pt>
                <c:pt idx="989">
                  <c:v>444</c:v>
                </c:pt>
                <c:pt idx="990">
                  <c:v>127</c:v>
                </c:pt>
              </c:numCache>
            </c:numRef>
          </c:val>
          <c:extLst>
            <c:ext xmlns:c16="http://schemas.microsoft.com/office/drawing/2014/chart" uri="{C3380CC4-5D6E-409C-BE32-E72D297353CC}">
              <c16:uniqueId val="{00000000-5927-43B6-9AB5-ACC4FE79C0BB}"/>
            </c:ext>
          </c:extLst>
        </c:ser>
        <c:dLbls>
          <c:showLegendKey val="0"/>
          <c:showVal val="0"/>
          <c:showCatName val="0"/>
          <c:showSerName val="0"/>
          <c:showPercent val="0"/>
          <c:showBubbleSize val="0"/>
        </c:dLbls>
        <c:gapWidth val="0"/>
        <c:axId val="611382224"/>
        <c:axId val="611361424"/>
      </c:barChart>
      <c:lineChart>
        <c:grouping val="standard"/>
        <c:varyColors val="0"/>
        <c:ser>
          <c:idx val="1"/>
          <c:order val="1"/>
          <c:tx>
            <c:strRef>
              <c:f>'National epi curve'!$N$1</c:f>
              <c:strCache>
                <c:ptCount val="1"/>
                <c:pt idx="0">
                  <c:v>Cumulative cases</c:v>
                </c:pt>
              </c:strCache>
            </c:strRef>
          </c:tx>
          <c:spPr>
            <a:ln w="28575" cap="rnd">
              <a:solidFill>
                <a:schemeClr val="accent2"/>
              </a:solidFill>
              <a:round/>
            </a:ln>
            <a:effectLst/>
          </c:spPr>
          <c:marker>
            <c:symbol val="none"/>
          </c:marker>
          <c:cat>
            <c:multiLvlStrRef>
              <c:f>'National epi curve'!$A$3:$B$993</c:f>
              <c:multiLvlStrCache>
                <c:ptCount val="991"/>
                <c:lvl>
                  <c:pt idx="0">
                    <c:v>02-Mar</c:v>
                  </c:pt>
                  <c:pt idx="1">
                    <c:v>03-Mar</c:v>
                  </c:pt>
                  <c:pt idx="2">
                    <c:v>06-Mar</c:v>
                  </c:pt>
                  <c:pt idx="3">
                    <c:v>07-Mar</c:v>
                  </c:pt>
                  <c:pt idx="4">
                    <c:v>08-Mar</c:v>
                  </c:pt>
                  <c:pt idx="5">
                    <c:v>09-Mar</c:v>
                  </c:pt>
                  <c:pt idx="6">
                    <c:v>10-Mar</c:v>
                  </c:pt>
                  <c:pt idx="7">
                    <c:v>11-Mar</c:v>
                  </c:pt>
                  <c:pt idx="8">
                    <c:v>12-Mar</c:v>
                  </c:pt>
                  <c:pt idx="9">
                    <c:v>13-Mar</c:v>
                  </c:pt>
                  <c:pt idx="10">
                    <c:v>14-Mar</c:v>
                  </c:pt>
                  <c:pt idx="11">
                    <c:v>15-Mar</c:v>
                  </c:pt>
                  <c:pt idx="12">
                    <c:v>16-Mar</c:v>
                  </c:pt>
                  <c:pt idx="13">
                    <c:v>17-Mar</c:v>
                  </c:pt>
                  <c:pt idx="14">
                    <c:v>18-Mar</c:v>
                  </c:pt>
                  <c:pt idx="15">
                    <c:v>19-Mar</c:v>
                  </c:pt>
                  <c:pt idx="16">
                    <c:v>20-Mar</c:v>
                  </c:pt>
                  <c:pt idx="17">
                    <c:v>21-Mar</c:v>
                  </c:pt>
                  <c:pt idx="18">
                    <c:v>22-Mar</c:v>
                  </c:pt>
                  <c:pt idx="19">
                    <c:v>23-Mar</c:v>
                  </c:pt>
                  <c:pt idx="20">
                    <c:v>24-Mar</c:v>
                  </c:pt>
                  <c:pt idx="21">
                    <c:v>25-Mar</c:v>
                  </c:pt>
                  <c:pt idx="22">
                    <c:v>26-Mar</c:v>
                  </c:pt>
                  <c:pt idx="23">
                    <c:v>27-Mar</c:v>
                  </c:pt>
                  <c:pt idx="24">
                    <c:v>28-Mar</c:v>
                  </c:pt>
                  <c:pt idx="25">
                    <c:v>29-Mar</c:v>
                  </c:pt>
                  <c:pt idx="26">
                    <c:v>30-Mar</c:v>
                  </c:pt>
                  <c:pt idx="27">
                    <c:v>31-Mar</c:v>
                  </c:pt>
                  <c:pt idx="28">
                    <c:v>01-Apr</c:v>
                  </c:pt>
                  <c:pt idx="29">
                    <c:v>02-Apr</c:v>
                  </c:pt>
                  <c:pt idx="30">
                    <c:v>03-Apr</c:v>
                  </c:pt>
                  <c:pt idx="31">
                    <c:v>04-Apr</c:v>
                  </c:pt>
                  <c:pt idx="32">
                    <c:v>05-Apr</c:v>
                  </c:pt>
                  <c:pt idx="33">
                    <c:v>06-Apr</c:v>
                  </c:pt>
                  <c:pt idx="34">
                    <c:v>07-Apr</c:v>
                  </c:pt>
                  <c:pt idx="35">
                    <c:v>08-Apr</c:v>
                  </c:pt>
                  <c:pt idx="36">
                    <c:v>09-Apr</c:v>
                  </c:pt>
                  <c:pt idx="37">
                    <c:v>10-Apr</c:v>
                  </c:pt>
                  <c:pt idx="38">
                    <c:v>11-Apr</c:v>
                  </c:pt>
                  <c:pt idx="39">
                    <c:v>12-Apr</c:v>
                  </c:pt>
                  <c:pt idx="40">
                    <c:v>13-Apr</c:v>
                  </c:pt>
                  <c:pt idx="41">
                    <c:v>14-Apr</c:v>
                  </c:pt>
                  <c:pt idx="42">
                    <c:v>15-Apr</c:v>
                  </c:pt>
                  <c:pt idx="43">
                    <c:v>16-Apr</c:v>
                  </c:pt>
                  <c:pt idx="44">
                    <c:v>17-Apr</c:v>
                  </c:pt>
                  <c:pt idx="45">
                    <c:v>18-Apr</c:v>
                  </c:pt>
                  <c:pt idx="46">
                    <c:v>19-Apr</c:v>
                  </c:pt>
                  <c:pt idx="47">
                    <c:v>20-Apr</c:v>
                  </c:pt>
                  <c:pt idx="48">
                    <c:v>21-Apr</c:v>
                  </c:pt>
                  <c:pt idx="49">
                    <c:v>22-Apr</c:v>
                  </c:pt>
                  <c:pt idx="50">
                    <c:v>23-Apr</c:v>
                  </c:pt>
                  <c:pt idx="51">
                    <c:v>24-Apr</c:v>
                  </c:pt>
                  <c:pt idx="52">
                    <c:v>25-Apr</c:v>
                  </c:pt>
                  <c:pt idx="53">
                    <c:v>26-Apr</c:v>
                  </c:pt>
                  <c:pt idx="54">
                    <c:v>27-Apr</c:v>
                  </c:pt>
                  <c:pt idx="55">
                    <c:v>28-Apr</c:v>
                  </c:pt>
                  <c:pt idx="56">
                    <c:v>29-Apr</c:v>
                  </c:pt>
                  <c:pt idx="57">
                    <c:v>30-Apr</c:v>
                  </c:pt>
                  <c:pt idx="58">
                    <c:v>01-May</c:v>
                  </c:pt>
                  <c:pt idx="59">
                    <c:v>02-May</c:v>
                  </c:pt>
                  <c:pt idx="60">
                    <c:v>03-May</c:v>
                  </c:pt>
                  <c:pt idx="61">
                    <c:v>04-May</c:v>
                  </c:pt>
                  <c:pt idx="62">
                    <c:v>05-May</c:v>
                  </c:pt>
                  <c:pt idx="63">
                    <c:v>06-May</c:v>
                  </c:pt>
                  <c:pt idx="64">
                    <c:v>07-May</c:v>
                  </c:pt>
                  <c:pt idx="65">
                    <c:v>08-May</c:v>
                  </c:pt>
                  <c:pt idx="66">
                    <c:v>09-May</c:v>
                  </c:pt>
                  <c:pt idx="67">
                    <c:v>10-May</c:v>
                  </c:pt>
                  <c:pt idx="68">
                    <c:v>11-May</c:v>
                  </c:pt>
                  <c:pt idx="69">
                    <c:v>12-May</c:v>
                  </c:pt>
                  <c:pt idx="70">
                    <c:v>13-May</c:v>
                  </c:pt>
                  <c:pt idx="71">
                    <c:v>14-May</c:v>
                  </c:pt>
                  <c:pt idx="72">
                    <c:v>15-May</c:v>
                  </c:pt>
                  <c:pt idx="73">
                    <c:v>16-May</c:v>
                  </c:pt>
                  <c:pt idx="74">
                    <c:v>17-May</c:v>
                  </c:pt>
                  <c:pt idx="75">
                    <c:v>18-May</c:v>
                  </c:pt>
                  <c:pt idx="76">
                    <c:v>19-May</c:v>
                  </c:pt>
                  <c:pt idx="77">
                    <c:v>20-May</c:v>
                  </c:pt>
                  <c:pt idx="78">
                    <c:v>21-May</c:v>
                  </c:pt>
                  <c:pt idx="79">
                    <c:v>22-May</c:v>
                  </c:pt>
                  <c:pt idx="80">
                    <c:v>23-May</c:v>
                  </c:pt>
                  <c:pt idx="81">
                    <c:v>24-May</c:v>
                  </c:pt>
                  <c:pt idx="82">
                    <c:v>25-May</c:v>
                  </c:pt>
                  <c:pt idx="83">
                    <c:v>26-May</c:v>
                  </c:pt>
                  <c:pt idx="84">
                    <c:v>27-May</c:v>
                  </c:pt>
                  <c:pt idx="85">
                    <c:v>28-May</c:v>
                  </c:pt>
                  <c:pt idx="86">
                    <c:v>29-May</c:v>
                  </c:pt>
                  <c:pt idx="87">
                    <c:v>30-May</c:v>
                  </c:pt>
                  <c:pt idx="88">
                    <c:v>31-May</c:v>
                  </c:pt>
                  <c:pt idx="89">
                    <c:v>01-Jun</c:v>
                  </c:pt>
                  <c:pt idx="90">
                    <c:v>02-Jun</c:v>
                  </c:pt>
                  <c:pt idx="91">
                    <c:v>03-Jun</c:v>
                  </c:pt>
                  <c:pt idx="92">
                    <c:v>04-Jun</c:v>
                  </c:pt>
                  <c:pt idx="93">
                    <c:v>05-Jun</c:v>
                  </c:pt>
                  <c:pt idx="94">
                    <c:v>06-Jun</c:v>
                  </c:pt>
                  <c:pt idx="95">
                    <c:v>07-Jun</c:v>
                  </c:pt>
                  <c:pt idx="96">
                    <c:v>08-Jun</c:v>
                  </c:pt>
                  <c:pt idx="97">
                    <c:v>09-Jun</c:v>
                  </c:pt>
                  <c:pt idx="98">
                    <c:v>10-Jun</c:v>
                  </c:pt>
                  <c:pt idx="99">
                    <c:v>11-Jun</c:v>
                  </c:pt>
                  <c:pt idx="100">
                    <c:v>12-Jun</c:v>
                  </c:pt>
                  <c:pt idx="101">
                    <c:v>13-Jun</c:v>
                  </c:pt>
                  <c:pt idx="102">
                    <c:v>14-Jun</c:v>
                  </c:pt>
                  <c:pt idx="103">
                    <c:v>15-Jun</c:v>
                  </c:pt>
                  <c:pt idx="104">
                    <c:v>16-Jun</c:v>
                  </c:pt>
                  <c:pt idx="105">
                    <c:v>17-Jun</c:v>
                  </c:pt>
                  <c:pt idx="106">
                    <c:v>18-Jun</c:v>
                  </c:pt>
                  <c:pt idx="107">
                    <c:v>19-Jun</c:v>
                  </c:pt>
                  <c:pt idx="108">
                    <c:v>20-Jun</c:v>
                  </c:pt>
                  <c:pt idx="109">
                    <c:v>21-Jun</c:v>
                  </c:pt>
                  <c:pt idx="110">
                    <c:v>22-Jun</c:v>
                  </c:pt>
                  <c:pt idx="111">
                    <c:v>23-Jun</c:v>
                  </c:pt>
                  <c:pt idx="112">
                    <c:v>24-Jun</c:v>
                  </c:pt>
                  <c:pt idx="113">
                    <c:v>25-Jun</c:v>
                  </c:pt>
                  <c:pt idx="114">
                    <c:v>26-Jun</c:v>
                  </c:pt>
                  <c:pt idx="115">
                    <c:v>27-Jun</c:v>
                  </c:pt>
                  <c:pt idx="116">
                    <c:v>28-Jun</c:v>
                  </c:pt>
                  <c:pt idx="117">
                    <c:v>29-Jun</c:v>
                  </c:pt>
                  <c:pt idx="118">
                    <c:v>30-Jun</c:v>
                  </c:pt>
                  <c:pt idx="119">
                    <c:v>01-Jul</c:v>
                  </c:pt>
                  <c:pt idx="120">
                    <c:v>02-Jul</c:v>
                  </c:pt>
                  <c:pt idx="121">
                    <c:v>03-Jul</c:v>
                  </c:pt>
                  <c:pt idx="122">
                    <c:v>04-Jul</c:v>
                  </c:pt>
                  <c:pt idx="123">
                    <c:v>05-Jul</c:v>
                  </c:pt>
                  <c:pt idx="124">
                    <c:v>06-Jul</c:v>
                  </c:pt>
                  <c:pt idx="125">
                    <c:v>07-Jul</c:v>
                  </c:pt>
                  <c:pt idx="126">
                    <c:v>08-Jul</c:v>
                  </c:pt>
                  <c:pt idx="127">
                    <c:v>09-Jul</c:v>
                  </c:pt>
                  <c:pt idx="128">
                    <c:v>10-Jul</c:v>
                  </c:pt>
                  <c:pt idx="129">
                    <c:v>11-Jul</c:v>
                  </c:pt>
                  <c:pt idx="130">
                    <c:v>12-Jul</c:v>
                  </c:pt>
                  <c:pt idx="131">
                    <c:v>13-Jul</c:v>
                  </c:pt>
                  <c:pt idx="132">
                    <c:v>14-Jul</c:v>
                  </c:pt>
                  <c:pt idx="133">
                    <c:v>15-Jul</c:v>
                  </c:pt>
                  <c:pt idx="134">
                    <c:v>16-Jul</c:v>
                  </c:pt>
                  <c:pt idx="135">
                    <c:v>17-Jul</c:v>
                  </c:pt>
                  <c:pt idx="136">
                    <c:v>18-Jul</c:v>
                  </c:pt>
                  <c:pt idx="137">
                    <c:v>19-Jul</c:v>
                  </c:pt>
                  <c:pt idx="138">
                    <c:v>20-Jul</c:v>
                  </c:pt>
                  <c:pt idx="139">
                    <c:v>21-Jul</c:v>
                  </c:pt>
                  <c:pt idx="140">
                    <c:v>22-Jul</c:v>
                  </c:pt>
                  <c:pt idx="141">
                    <c:v>23-Jul</c:v>
                  </c:pt>
                  <c:pt idx="142">
                    <c:v>24-Jul</c:v>
                  </c:pt>
                  <c:pt idx="143">
                    <c:v>25-Jul</c:v>
                  </c:pt>
                  <c:pt idx="144">
                    <c:v>26-Jul</c:v>
                  </c:pt>
                  <c:pt idx="145">
                    <c:v>27-Jul</c:v>
                  </c:pt>
                  <c:pt idx="146">
                    <c:v>28-Jul</c:v>
                  </c:pt>
                  <c:pt idx="147">
                    <c:v>29-Jul</c:v>
                  </c:pt>
                  <c:pt idx="148">
                    <c:v>30-Jul</c:v>
                  </c:pt>
                  <c:pt idx="149">
                    <c:v>31-Jul</c:v>
                  </c:pt>
                  <c:pt idx="150">
                    <c:v>01-Aug</c:v>
                  </c:pt>
                  <c:pt idx="151">
                    <c:v>02-Aug</c:v>
                  </c:pt>
                  <c:pt idx="152">
                    <c:v>03-Aug</c:v>
                  </c:pt>
                  <c:pt idx="153">
                    <c:v>04-Aug</c:v>
                  </c:pt>
                  <c:pt idx="154">
                    <c:v>05-Aug</c:v>
                  </c:pt>
                  <c:pt idx="155">
                    <c:v>06-Aug</c:v>
                  </c:pt>
                  <c:pt idx="156">
                    <c:v>07-Aug</c:v>
                  </c:pt>
                  <c:pt idx="157">
                    <c:v>08-Aug</c:v>
                  </c:pt>
                  <c:pt idx="158">
                    <c:v>09-Aug</c:v>
                  </c:pt>
                  <c:pt idx="159">
                    <c:v>10-Aug</c:v>
                  </c:pt>
                  <c:pt idx="160">
                    <c:v>11-Aug</c:v>
                  </c:pt>
                  <c:pt idx="161">
                    <c:v>12-Aug</c:v>
                  </c:pt>
                  <c:pt idx="162">
                    <c:v>13-Aug</c:v>
                  </c:pt>
                  <c:pt idx="163">
                    <c:v>14-Aug</c:v>
                  </c:pt>
                  <c:pt idx="164">
                    <c:v>15-Aug</c:v>
                  </c:pt>
                  <c:pt idx="165">
                    <c:v>16-Aug</c:v>
                  </c:pt>
                  <c:pt idx="166">
                    <c:v>17-Aug</c:v>
                  </c:pt>
                  <c:pt idx="167">
                    <c:v>18-Aug</c:v>
                  </c:pt>
                  <c:pt idx="168">
                    <c:v>19-Aug</c:v>
                  </c:pt>
                  <c:pt idx="169">
                    <c:v>20-Aug</c:v>
                  </c:pt>
                  <c:pt idx="170">
                    <c:v>21-Aug</c:v>
                  </c:pt>
                  <c:pt idx="171">
                    <c:v>22-Aug</c:v>
                  </c:pt>
                  <c:pt idx="172">
                    <c:v>23-Aug</c:v>
                  </c:pt>
                  <c:pt idx="173">
                    <c:v>24-Aug</c:v>
                  </c:pt>
                  <c:pt idx="174">
                    <c:v>25-Aug</c:v>
                  </c:pt>
                  <c:pt idx="175">
                    <c:v>26-Aug</c:v>
                  </c:pt>
                  <c:pt idx="176">
                    <c:v>27-Aug</c:v>
                  </c:pt>
                  <c:pt idx="177">
                    <c:v>28-Aug</c:v>
                  </c:pt>
                  <c:pt idx="178">
                    <c:v>29-Aug</c:v>
                  </c:pt>
                  <c:pt idx="179">
                    <c:v>30-Aug</c:v>
                  </c:pt>
                  <c:pt idx="180">
                    <c:v>31-Aug</c:v>
                  </c:pt>
                  <c:pt idx="181">
                    <c:v>01-Sep</c:v>
                  </c:pt>
                  <c:pt idx="182">
                    <c:v>02-Sep</c:v>
                  </c:pt>
                  <c:pt idx="183">
                    <c:v>03-Sep</c:v>
                  </c:pt>
                  <c:pt idx="184">
                    <c:v>04-Sep</c:v>
                  </c:pt>
                  <c:pt idx="185">
                    <c:v>05-Sep</c:v>
                  </c:pt>
                  <c:pt idx="186">
                    <c:v>06-Sep</c:v>
                  </c:pt>
                  <c:pt idx="187">
                    <c:v>07-Sep</c:v>
                  </c:pt>
                  <c:pt idx="188">
                    <c:v>08-Sep</c:v>
                  </c:pt>
                  <c:pt idx="189">
                    <c:v>09-Sep</c:v>
                  </c:pt>
                  <c:pt idx="190">
                    <c:v>10-Sep</c:v>
                  </c:pt>
                  <c:pt idx="191">
                    <c:v>11-Sep</c:v>
                  </c:pt>
                  <c:pt idx="192">
                    <c:v>12-Sep</c:v>
                  </c:pt>
                  <c:pt idx="193">
                    <c:v>13-Sep</c:v>
                  </c:pt>
                  <c:pt idx="194">
                    <c:v>14-Sep</c:v>
                  </c:pt>
                  <c:pt idx="195">
                    <c:v>15-Sep</c:v>
                  </c:pt>
                  <c:pt idx="196">
                    <c:v>16-Sep</c:v>
                  </c:pt>
                  <c:pt idx="197">
                    <c:v>17-Sep</c:v>
                  </c:pt>
                  <c:pt idx="198">
                    <c:v>18-Sep</c:v>
                  </c:pt>
                  <c:pt idx="199">
                    <c:v>19-Sep</c:v>
                  </c:pt>
                  <c:pt idx="200">
                    <c:v>20-Sep</c:v>
                  </c:pt>
                  <c:pt idx="201">
                    <c:v>21-Sep</c:v>
                  </c:pt>
                  <c:pt idx="202">
                    <c:v>22-Sep</c:v>
                  </c:pt>
                  <c:pt idx="203">
                    <c:v>23-Sep</c:v>
                  </c:pt>
                  <c:pt idx="204">
                    <c:v>24-Sep</c:v>
                  </c:pt>
                  <c:pt idx="205">
                    <c:v>25-Sep</c:v>
                  </c:pt>
                  <c:pt idx="206">
                    <c:v>26-Sep</c:v>
                  </c:pt>
                  <c:pt idx="207">
                    <c:v>27-Sep</c:v>
                  </c:pt>
                  <c:pt idx="208">
                    <c:v>28-Sep</c:v>
                  </c:pt>
                  <c:pt idx="209">
                    <c:v>29-Sep</c:v>
                  </c:pt>
                  <c:pt idx="210">
                    <c:v>30-Sep</c:v>
                  </c:pt>
                  <c:pt idx="211">
                    <c:v>01-Oct</c:v>
                  </c:pt>
                  <c:pt idx="212">
                    <c:v>02-Oct</c:v>
                  </c:pt>
                  <c:pt idx="213">
                    <c:v>03-Oct</c:v>
                  </c:pt>
                  <c:pt idx="214">
                    <c:v>04-Oct</c:v>
                  </c:pt>
                  <c:pt idx="215">
                    <c:v>05-Oct</c:v>
                  </c:pt>
                  <c:pt idx="216">
                    <c:v>06-Oct</c:v>
                  </c:pt>
                  <c:pt idx="217">
                    <c:v>07-Oct</c:v>
                  </c:pt>
                  <c:pt idx="218">
                    <c:v>08-Oct</c:v>
                  </c:pt>
                  <c:pt idx="219">
                    <c:v>09-Oct</c:v>
                  </c:pt>
                  <c:pt idx="220">
                    <c:v>10-Oct</c:v>
                  </c:pt>
                  <c:pt idx="221">
                    <c:v>11-Oct</c:v>
                  </c:pt>
                  <c:pt idx="222">
                    <c:v>12-Oct</c:v>
                  </c:pt>
                  <c:pt idx="223">
                    <c:v>13-Oct</c:v>
                  </c:pt>
                  <c:pt idx="224">
                    <c:v>14-Oct</c:v>
                  </c:pt>
                  <c:pt idx="225">
                    <c:v>15-Oct</c:v>
                  </c:pt>
                  <c:pt idx="226">
                    <c:v>16-Oct</c:v>
                  </c:pt>
                  <c:pt idx="227">
                    <c:v>17-Oct</c:v>
                  </c:pt>
                  <c:pt idx="228">
                    <c:v>18-Oct</c:v>
                  </c:pt>
                  <c:pt idx="229">
                    <c:v>19-Oct</c:v>
                  </c:pt>
                  <c:pt idx="230">
                    <c:v>20-Oct</c:v>
                  </c:pt>
                  <c:pt idx="231">
                    <c:v>21-Oct</c:v>
                  </c:pt>
                  <c:pt idx="232">
                    <c:v>22-Oct</c:v>
                  </c:pt>
                  <c:pt idx="233">
                    <c:v>23-Oct</c:v>
                  </c:pt>
                  <c:pt idx="234">
                    <c:v>24-Oct</c:v>
                  </c:pt>
                  <c:pt idx="235">
                    <c:v>25-Oct</c:v>
                  </c:pt>
                  <c:pt idx="236">
                    <c:v>26-Oct</c:v>
                  </c:pt>
                  <c:pt idx="237">
                    <c:v>27-Oct</c:v>
                  </c:pt>
                  <c:pt idx="238">
                    <c:v>28-Oct</c:v>
                  </c:pt>
                  <c:pt idx="239">
                    <c:v>29-Oct</c:v>
                  </c:pt>
                  <c:pt idx="240">
                    <c:v>30-Oct</c:v>
                  </c:pt>
                  <c:pt idx="241">
                    <c:v>31-Oct</c:v>
                  </c:pt>
                  <c:pt idx="242">
                    <c:v>01-Nov</c:v>
                  </c:pt>
                  <c:pt idx="243">
                    <c:v>02-Nov</c:v>
                  </c:pt>
                  <c:pt idx="244">
                    <c:v>03-Nov</c:v>
                  </c:pt>
                  <c:pt idx="245">
                    <c:v>04-Nov</c:v>
                  </c:pt>
                  <c:pt idx="246">
                    <c:v>05-Nov</c:v>
                  </c:pt>
                  <c:pt idx="247">
                    <c:v>06-Nov</c:v>
                  </c:pt>
                  <c:pt idx="248">
                    <c:v>07-Nov</c:v>
                  </c:pt>
                  <c:pt idx="249">
                    <c:v>08-Nov</c:v>
                  </c:pt>
                  <c:pt idx="250">
                    <c:v>09-Nov</c:v>
                  </c:pt>
                  <c:pt idx="251">
                    <c:v>10-Nov</c:v>
                  </c:pt>
                  <c:pt idx="252">
                    <c:v>11-Nov</c:v>
                  </c:pt>
                  <c:pt idx="253">
                    <c:v>12-Nov</c:v>
                  </c:pt>
                  <c:pt idx="254">
                    <c:v>13-Nov</c:v>
                  </c:pt>
                  <c:pt idx="255">
                    <c:v>14-Nov</c:v>
                  </c:pt>
                  <c:pt idx="256">
                    <c:v>15-Nov</c:v>
                  </c:pt>
                  <c:pt idx="257">
                    <c:v>16-Nov</c:v>
                  </c:pt>
                  <c:pt idx="258">
                    <c:v>17-Nov</c:v>
                  </c:pt>
                  <c:pt idx="259">
                    <c:v>18-Nov</c:v>
                  </c:pt>
                  <c:pt idx="260">
                    <c:v>19-Nov</c:v>
                  </c:pt>
                  <c:pt idx="261">
                    <c:v>20-Nov</c:v>
                  </c:pt>
                  <c:pt idx="262">
                    <c:v>21-Nov</c:v>
                  </c:pt>
                  <c:pt idx="263">
                    <c:v>22-Nov</c:v>
                  </c:pt>
                  <c:pt idx="264">
                    <c:v>23-Nov</c:v>
                  </c:pt>
                  <c:pt idx="265">
                    <c:v>24-Nov</c:v>
                  </c:pt>
                  <c:pt idx="266">
                    <c:v>25-Nov</c:v>
                  </c:pt>
                  <c:pt idx="267">
                    <c:v>26-Nov</c:v>
                  </c:pt>
                  <c:pt idx="268">
                    <c:v>27-Nov</c:v>
                  </c:pt>
                  <c:pt idx="269">
                    <c:v>28-Nov</c:v>
                  </c:pt>
                  <c:pt idx="270">
                    <c:v>29-Nov</c:v>
                  </c:pt>
                  <c:pt idx="271">
                    <c:v>30-Nov</c:v>
                  </c:pt>
                  <c:pt idx="272">
                    <c:v>01-Dec</c:v>
                  </c:pt>
                  <c:pt idx="273">
                    <c:v>02-Dec</c:v>
                  </c:pt>
                  <c:pt idx="274">
                    <c:v>03-Dec</c:v>
                  </c:pt>
                  <c:pt idx="275">
                    <c:v>04-Dec</c:v>
                  </c:pt>
                  <c:pt idx="276">
                    <c:v>05-Dec</c:v>
                  </c:pt>
                  <c:pt idx="277">
                    <c:v>06-Dec</c:v>
                  </c:pt>
                  <c:pt idx="278">
                    <c:v>07-Dec</c:v>
                  </c:pt>
                  <c:pt idx="279">
                    <c:v>08-Dec</c:v>
                  </c:pt>
                  <c:pt idx="280">
                    <c:v>09-Dec</c:v>
                  </c:pt>
                  <c:pt idx="281">
                    <c:v>10-Dec</c:v>
                  </c:pt>
                  <c:pt idx="282">
                    <c:v>11-Dec</c:v>
                  </c:pt>
                  <c:pt idx="283">
                    <c:v>12-Dec</c:v>
                  </c:pt>
                  <c:pt idx="284">
                    <c:v>13-Dec</c:v>
                  </c:pt>
                  <c:pt idx="285">
                    <c:v>14-Dec</c:v>
                  </c:pt>
                  <c:pt idx="286">
                    <c:v>15-Dec</c:v>
                  </c:pt>
                  <c:pt idx="287">
                    <c:v>16-Dec</c:v>
                  </c:pt>
                  <c:pt idx="288">
                    <c:v>17-Dec</c:v>
                  </c:pt>
                  <c:pt idx="289">
                    <c:v>18-Dec</c:v>
                  </c:pt>
                  <c:pt idx="290">
                    <c:v>19-Dec</c:v>
                  </c:pt>
                  <c:pt idx="291">
                    <c:v>20-Dec</c:v>
                  </c:pt>
                  <c:pt idx="292">
                    <c:v>21-Dec</c:v>
                  </c:pt>
                  <c:pt idx="293">
                    <c:v>22-Dec</c:v>
                  </c:pt>
                  <c:pt idx="294">
                    <c:v>23-Dec</c:v>
                  </c:pt>
                  <c:pt idx="295">
                    <c:v>24-Dec</c:v>
                  </c:pt>
                  <c:pt idx="296">
                    <c:v>25-Dec</c:v>
                  </c:pt>
                  <c:pt idx="297">
                    <c:v>26-Dec</c:v>
                  </c:pt>
                  <c:pt idx="298">
                    <c:v>27-Dec</c:v>
                  </c:pt>
                  <c:pt idx="299">
                    <c:v>28-Dec</c:v>
                  </c:pt>
                  <c:pt idx="300">
                    <c:v>29-Dec</c:v>
                  </c:pt>
                  <c:pt idx="301">
                    <c:v>30-Dec</c:v>
                  </c:pt>
                  <c:pt idx="302">
                    <c:v>31-Dec</c:v>
                  </c:pt>
                  <c:pt idx="303">
                    <c:v>01-Jan</c:v>
                  </c:pt>
                  <c:pt idx="304">
                    <c:v>02-Jan</c:v>
                  </c:pt>
                  <c:pt idx="305">
                    <c:v>03-Jan</c:v>
                  </c:pt>
                  <c:pt idx="306">
                    <c:v>04-Jan</c:v>
                  </c:pt>
                  <c:pt idx="307">
                    <c:v>05-Jan</c:v>
                  </c:pt>
                  <c:pt idx="308">
                    <c:v>06-Jan</c:v>
                  </c:pt>
                  <c:pt idx="309">
                    <c:v>07-Jan</c:v>
                  </c:pt>
                  <c:pt idx="310">
                    <c:v>08-Jan</c:v>
                  </c:pt>
                  <c:pt idx="311">
                    <c:v>09-Jan</c:v>
                  </c:pt>
                  <c:pt idx="312">
                    <c:v>10-Jan</c:v>
                  </c:pt>
                  <c:pt idx="313">
                    <c:v>11-Jan</c:v>
                  </c:pt>
                  <c:pt idx="314">
                    <c:v>12-Jan</c:v>
                  </c:pt>
                  <c:pt idx="315">
                    <c:v>13-Jan</c:v>
                  </c:pt>
                  <c:pt idx="316">
                    <c:v>14-Jan</c:v>
                  </c:pt>
                  <c:pt idx="317">
                    <c:v>15-Jan</c:v>
                  </c:pt>
                  <c:pt idx="318">
                    <c:v>16-Jan</c:v>
                  </c:pt>
                  <c:pt idx="319">
                    <c:v>17-Jan</c:v>
                  </c:pt>
                  <c:pt idx="320">
                    <c:v>18-Jan</c:v>
                  </c:pt>
                  <c:pt idx="321">
                    <c:v>19-Jan</c:v>
                  </c:pt>
                  <c:pt idx="322">
                    <c:v>20-Jan</c:v>
                  </c:pt>
                  <c:pt idx="323">
                    <c:v>21-Jan</c:v>
                  </c:pt>
                  <c:pt idx="324">
                    <c:v>22-Jan</c:v>
                  </c:pt>
                  <c:pt idx="325">
                    <c:v>23-Jan</c:v>
                  </c:pt>
                  <c:pt idx="326">
                    <c:v>24-Jan</c:v>
                  </c:pt>
                  <c:pt idx="327">
                    <c:v>25-Jan</c:v>
                  </c:pt>
                  <c:pt idx="328">
                    <c:v>26-Jan</c:v>
                  </c:pt>
                  <c:pt idx="329">
                    <c:v>27-Jan</c:v>
                  </c:pt>
                  <c:pt idx="330">
                    <c:v>28-Jan</c:v>
                  </c:pt>
                  <c:pt idx="331">
                    <c:v>29-Jan</c:v>
                  </c:pt>
                  <c:pt idx="332">
                    <c:v>30-Jan</c:v>
                  </c:pt>
                  <c:pt idx="333">
                    <c:v>31-Jan</c:v>
                  </c:pt>
                  <c:pt idx="334">
                    <c:v>01-Feb</c:v>
                  </c:pt>
                  <c:pt idx="335">
                    <c:v>02-Feb</c:v>
                  </c:pt>
                  <c:pt idx="336">
                    <c:v>03-Feb</c:v>
                  </c:pt>
                  <c:pt idx="337">
                    <c:v>04-Feb</c:v>
                  </c:pt>
                  <c:pt idx="338">
                    <c:v>05-Feb</c:v>
                  </c:pt>
                  <c:pt idx="339">
                    <c:v>06-Feb</c:v>
                  </c:pt>
                  <c:pt idx="340">
                    <c:v>07-Feb</c:v>
                  </c:pt>
                  <c:pt idx="341">
                    <c:v>08-Feb</c:v>
                  </c:pt>
                  <c:pt idx="342">
                    <c:v>09-Feb</c:v>
                  </c:pt>
                  <c:pt idx="343">
                    <c:v>10-Feb</c:v>
                  </c:pt>
                  <c:pt idx="344">
                    <c:v>11-Feb</c:v>
                  </c:pt>
                  <c:pt idx="345">
                    <c:v>12-Feb</c:v>
                  </c:pt>
                  <c:pt idx="346">
                    <c:v>13-Feb</c:v>
                  </c:pt>
                  <c:pt idx="347">
                    <c:v>14-Feb</c:v>
                  </c:pt>
                  <c:pt idx="348">
                    <c:v>15-Feb</c:v>
                  </c:pt>
                  <c:pt idx="349">
                    <c:v>16-Feb</c:v>
                  </c:pt>
                  <c:pt idx="350">
                    <c:v>17-Feb</c:v>
                  </c:pt>
                  <c:pt idx="351">
                    <c:v>18-Feb</c:v>
                  </c:pt>
                  <c:pt idx="352">
                    <c:v>19-Feb</c:v>
                  </c:pt>
                  <c:pt idx="353">
                    <c:v>20-Feb</c:v>
                  </c:pt>
                  <c:pt idx="354">
                    <c:v>21-Feb</c:v>
                  </c:pt>
                  <c:pt idx="355">
                    <c:v>22-Feb</c:v>
                  </c:pt>
                  <c:pt idx="356">
                    <c:v>23-Feb</c:v>
                  </c:pt>
                  <c:pt idx="357">
                    <c:v>24-Feb</c:v>
                  </c:pt>
                  <c:pt idx="358">
                    <c:v>25-Feb</c:v>
                  </c:pt>
                  <c:pt idx="359">
                    <c:v>26-Feb</c:v>
                  </c:pt>
                  <c:pt idx="360">
                    <c:v>27-Feb</c:v>
                  </c:pt>
                  <c:pt idx="361">
                    <c:v>28-Feb</c:v>
                  </c:pt>
                  <c:pt idx="362">
                    <c:v>01-Mar</c:v>
                  </c:pt>
                  <c:pt idx="363">
                    <c:v>02-Mar</c:v>
                  </c:pt>
                  <c:pt idx="364">
                    <c:v>03-Mar</c:v>
                  </c:pt>
                  <c:pt idx="365">
                    <c:v>04-Mar</c:v>
                  </c:pt>
                  <c:pt idx="366">
                    <c:v>05-Mar</c:v>
                  </c:pt>
                  <c:pt idx="367">
                    <c:v>06-Mar</c:v>
                  </c:pt>
                  <c:pt idx="368">
                    <c:v>07-Mar</c:v>
                  </c:pt>
                  <c:pt idx="369">
                    <c:v>08-Mar</c:v>
                  </c:pt>
                  <c:pt idx="370">
                    <c:v>09-Mar</c:v>
                  </c:pt>
                  <c:pt idx="371">
                    <c:v>10-Mar</c:v>
                  </c:pt>
                  <c:pt idx="372">
                    <c:v>11-Mar</c:v>
                  </c:pt>
                  <c:pt idx="373">
                    <c:v>12-Mar</c:v>
                  </c:pt>
                  <c:pt idx="374">
                    <c:v>13-Mar</c:v>
                  </c:pt>
                  <c:pt idx="375">
                    <c:v>14-Mar</c:v>
                  </c:pt>
                  <c:pt idx="376">
                    <c:v>15-Mar</c:v>
                  </c:pt>
                  <c:pt idx="377">
                    <c:v>16-Mar</c:v>
                  </c:pt>
                  <c:pt idx="378">
                    <c:v>17-Mar</c:v>
                  </c:pt>
                  <c:pt idx="379">
                    <c:v>18-Mar</c:v>
                  </c:pt>
                  <c:pt idx="380">
                    <c:v>19-Mar</c:v>
                  </c:pt>
                  <c:pt idx="381">
                    <c:v>20-Mar</c:v>
                  </c:pt>
                  <c:pt idx="382">
                    <c:v>21-Mar</c:v>
                  </c:pt>
                  <c:pt idx="383">
                    <c:v>22-Mar</c:v>
                  </c:pt>
                  <c:pt idx="384">
                    <c:v>23-Mar</c:v>
                  </c:pt>
                  <c:pt idx="385">
                    <c:v>24-Mar</c:v>
                  </c:pt>
                  <c:pt idx="386">
                    <c:v>25-Mar</c:v>
                  </c:pt>
                  <c:pt idx="387">
                    <c:v>26-Mar</c:v>
                  </c:pt>
                  <c:pt idx="388">
                    <c:v>27-Mar</c:v>
                  </c:pt>
                  <c:pt idx="389">
                    <c:v>28-Mar</c:v>
                  </c:pt>
                  <c:pt idx="390">
                    <c:v>29-Mar</c:v>
                  </c:pt>
                  <c:pt idx="391">
                    <c:v>30-Mar</c:v>
                  </c:pt>
                  <c:pt idx="392">
                    <c:v>31-Mar</c:v>
                  </c:pt>
                  <c:pt idx="393">
                    <c:v>01-Apr</c:v>
                  </c:pt>
                  <c:pt idx="394">
                    <c:v>02-Apr</c:v>
                  </c:pt>
                  <c:pt idx="395">
                    <c:v>03-Apr</c:v>
                  </c:pt>
                  <c:pt idx="396">
                    <c:v>04-Apr</c:v>
                  </c:pt>
                  <c:pt idx="397">
                    <c:v>05-Apr</c:v>
                  </c:pt>
                  <c:pt idx="398">
                    <c:v>06-Apr</c:v>
                  </c:pt>
                  <c:pt idx="399">
                    <c:v>07-Apr</c:v>
                  </c:pt>
                  <c:pt idx="400">
                    <c:v>08-Apr</c:v>
                  </c:pt>
                  <c:pt idx="401">
                    <c:v>09-Apr</c:v>
                  </c:pt>
                  <c:pt idx="402">
                    <c:v>10-Apr</c:v>
                  </c:pt>
                  <c:pt idx="403">
                    <c:v>11-Apr</c:v>
                  </c:pt>
                  <c:pt idx="404">
                    <c:v>12-Apr</c:v>
                  </c:pt>
                  <c:pt idx="405">
                    <c:v>13-Apr</c:v>
                  </c:pt>
                  <c:pt idx="406">
                    <c:v>14-Apr</c:v>
                  </c:pt>
                  <c:pt idx="407">
                    <c:v>15-Apr</c:v>
                  </c:pt>
                  <c:pt idx="408">
                    <c:v>16-Apr</c:v>
                  </c:pt>
                  <c:pt idx="409">
                    <c:v>17-Apr</c:v>
                  </c:pt>
                  <c:pt idx="410">
                    <c:v>18-Apr</c:v>
                  </c:pt>
                  <c:pt idx="411">
                    <c:v>19-Apr</c:v>
                  </c:pt>
                  <c:pt idx="412">
                    <c:v>20-Apr</c:v>
                  </c:pt>
                  <c:pt idx="413">
                    <c:v>21-Apr</c:v>
                  </c:pt>
                  <c:pt idx="414">
                    <c:v>22-Apr</c:v>
                  </c:pt>
                  <c:pt idx="415">
                    <c:v>23-Apr</c:v>
                  </c:pt>
                  <c:pt idx="416">
                    <c:v>24-Apr</c:v>
                  </c:pt>
                  <c:pt idx="417">
                    <c:v>25-Apr</c:v>
                  </c:pt>
                  <c:pt idx="418">
                    <c:v>26-Apr</c:v>
                  </c:pt>
                  <c:pt idx="419">
                    <c:v>27-Apr</c:v>
                  </c:pt>
                  <c:pt idx="420">
                    <c:v>28-Apr</c:v>
                  </c:pt>
                  <c:pt idx="421">
                    <c:v>29-Apr</c:v>
                  </c:pt>
                  <c:pt idx="422">
                    <c:v>30-Apr</c:v>
                  </c:pt>
                  <c:pt idx="423">
                    <c:v>01-May</c:v>
                  </c:pt>
                  <c:pt idx="424">
                    <c:v>02-May</c:v>
                  </c:pt>
                  <c:pt idx="425">
                    <c:v>03-May</c:v>
                  </c:pt>
                  <c:pt idx="426">
                    <c:v>04-May</c:v>
                  </c:pt>
                  <c:pt idx="427">
                    <c:v>05-May</c:v>
                  </c:pt>
                  <c:pt idx="428">
                    <c:v>06-May</c:v>
                  </c:pt>
                  <c:pt idx="429">
                    <c:v>07-May</c:v>
                  </c:pt>
                  <c:pt idx="430">
                    <c:v>08-May</c:v>
                  </c:pt>
                  <c:pt idx="431">
                    <c:v>09-May</c:v>
                  </c:pt>
                  <c:pt idx="432">
                    <c:v>10-May</c:v>
                  </c:pt>
                  <c:pt idx="433">
                    <c:v>11-May</c:v>
                  </c:pt>
                  <c:pt idx="434">
                    <c:v>12-May</c:v>
                  </c:pt>
                  <c:pt idx="435">
                    <c:v>13-May</c:v>
                  </c:pt>
                  <c:pt idx="436">
                    <c:v>14-May</c:v>
                  </c:pt>
                  <c:pt idx="437">
                    <c:v>15-May</c:v>
                  </c:pt>
                  <c:pt idx="438">
                    <c:v>16-May</c:v>
                  </c:pt>
                  <c:pt idx="439">
                    <c:v>17-May</c:v>
                  </c:pt>
                  <c:pt idx="440">
                    <c:v>18-May</c:v>
                  </c:pt>
                  <c:pt idx="441">
                    <c:v>19-May</c:v>
                  </c:pt>
                  <c:pt idx="442">
                    <c:v>20-May</c:v>
                  </c:pt>
                  <c:pt idx="443">
                    <c:v>21-May</c:v>
                  </c:pt>
                  <c:pt idx="444">
                    <c:v>22-May</c:v>
                  </c:pt>
                  <c:pt idx="445">
                    <c:v>23-May</c:v>
                  </c:pt>
                  <c:pt idx="446">
                    <c:v>24-May</c:v>
                  </c:pt>
                  <c:pt idx="447">
                    <c:v>25-May</c:v>
                  </c:pt>
                  <c:pt idx="448">
                    <c:v>26-May</c:v>
                  </c:pt>
                  <c:pt idx="449">
                    <c:v>27-May</c:v>
                  </c:pt>
                  <c:pt idx="450">
                    <c:v>28-May</c:v>
                  </c:pt>
                  <c:pt idx="451">
                    <c:v>29-May</c:v>
                  </c:pt>
                  <c:pt idx="452">
                    <c:v>30-May</c:v>
                  </c:pt>
                  <c:pt idx="453">
                    <c:v>31-May</c:v>
                  </c:pt>
                  <c:pt idx="454">
                    <c:v>01-Jun</c:v>
                  </c:pt>
                  <c:pt idx="455">
                    <c:v>02-Jun</c:v>
                  </c:pt>
                  <c:pt idx="456">
                    <c:v>03-Jun</c:v>
                  </c:pt>
                  <c:pt idx="457">
                    <c:v>04-Jun</c:v>
                  </c:pt>
                  <c:pt idx="458">
                    <c:v>05-Jun</c:v>
                  </c:pt>
                  <c:pt idx="459">
                    <c:v>06-Jun</c:v>
                  </c:pt>
                  <c:pt idx="460">
                    <c:v>07-Jun</c:v>
                  </c:pt>
                  <c:pt idx="461">
                    <c:v>08-Jun</c:v>
                  </c:pt>
                  <c:pt idx="462">
                    <c:v>09-Jun</c:v>
                  </c:pt>
                  <c:pt idx="463">
                    <c:v>10-Jun</c:v>
                  </c:pt>
                  <c:pt idx="464">
                    <c:v>11-Jun</c:v>
                  </c:pt>
                  <c:pt idx="465">
                    <c:v>12-Jun</c:v>
                  </c:pt>
                  <c:pt idx="466">
                    <c:v>13-Jun</c:v>
                  </c:pt>
                  <c:pt idx="467">
                    <c:v>14-Jun</c:v>
                  </c:pt>
                  <c:pt idx="468">
                    <c:v>15-Jun</c:v>
                  </c:pt>
                  <c:pt idx="469">
                    <c:v>16-Jun</c:v>
                  </c:pt>
                  <c:pt idx="470">
                    <c:v>17-Jun</c:v>
                  </c:pt>
                  <c:pt idx="471">
                    <c:v>18-Jun</c:v>
                  </c:pt>
                  <c:pt idx="472">
                    <c:v>19-Jun</c:v>
                  </c:pt>
                  <c:pt idx="473">
                    <c:v>20-Jun</c:v>
                  </c:pt>
                  <c:pt idx="474">
                    <c:v>21-Jun</c:v>
                  </c:pt>
                  <c:pt idx="475">
                    <c:v>22-Jun</c:v>
                  </c:pt>
                  <c:pt idx="476">
                    <c:v>23-Jun</c:v>
                  </c:pt>
                  <c:pt idx="477">
                    <c:v>24-Jun</c:v>
                  </c:pt>
                  <c:pt idx="478">
                    <c:v>25-Jun</c:v>
                  </c:pt>
                  <c:pt idx="479">
                    <c:v>26-Jun</c:v>
                  </c:pt>
                  <c:pt idx="480">
                    <c:v>27-Jun</c:v>
                  </c:pt>
                  <c:pt idx="481">
                    <c:v>28-Jun</c:v>
                  </c:pt>
                  <c:pt idx="482">
                    <c:v>29-Jun</c:v>
                  </c:pt>
                  <c:pt idx="483">
                    <c:v>30-Jun</c:v>
                  </c:pt>
                  <c:pt idx="484">
                    <c:v>01-Jul</c:v>
                  </c:pt>
                  <c:pt idx="485">
                    <c:v>02-Jul</c:v>
                  </c:pt>
                  <c:pt idx="486">
                    <c:v>03-Jul</c:v>
                  </c:pt>
                  <c:pt idx="487">
                    <c:v>04-Jul</c:v>
                  </c:pt>
                  <c:pt idx="488">
                    <c:v>05-Jul</c:v>
                  </c:pt>
                  <c:pt idx="489">
                    <c:v>06-Jul</c:v>
                  </c:pt>
                  <c:pt idx="490">
                    <c:v>07-Jul</c:v>
                  </c:pt>
                  <c:pt idx="491">
                    <c:v>08-Jul</c:v>
                  </c:pt>
                  <c:pt idx="492">
                    <c:v>09-Jul</c:v>
                  </c:pt>
                  <c:pt idx="493">
                    <c:v>10-Jul</c:v>
                  </c:pt>
                  <c:pt idx="494">
                    <c:v>11-Jul</c:v>
                  </c:pt>
                  <c:pt idx="495">
                    <c:v>12-Jul</c:v>
                  </c:pt>
                  <c:pt idx="496">
                    <c:v>13-Jul</c:v>
                  </c:pt>
                  <c:pt idx="497">
                    <c:v>14-Jul</c:v>
                  </c:pt>
                  <c:pt idx="498">
                    <c:v>15-Jul</c:v>
                  </c:pt>
                  <c:pt idx="499">
                    <c:v>16-Jul</c:v>
                  </c:pt>
                  <c:pt idx="500">
                    <c:v>17-Jul</c:v>
                  </c:pt>
                  <c:pt idx="501">
                    <c:v>18-Jul</c:v>
                  </c:pt>
                  <c:pt idx="502">
                    <c:v>19-Jul</c:v>
                  </c:pt>
                  <c:pt idx="503">
                    <c:v>20-Jul</c:v>
                  </c:pt>
                  <c:pt idx="504">
                    <c:v>21-Jul</c:v>
                  </c:pt>
                  <c:pt idx="505">
                    <c:v>22-Jul</c:v>
                  </c:pt>
                  <c:pt idx="506">
                    <c:v>23-Jul</c:v>
                  </c:pt>
                  <c:pt idx="507">
                    <c:v>24-Jul</c:v>
                  </c:pt>
                  <c:pt idx="508">
                    <c:v>25-Jul</c:v>
                  </c:pt>
                  <c:pt idx="509">
                    <c:v>26-Jul</c:v>
                  </c:pt>
                  <c:pt idx="510">
                    <c:v>27-Jul</c:v>
                  </c:pt>
                  <c:pt idx="511">
                    <c:v>28-Jul</c:v>
                  </c:pt>
                  <c:pt idx="512">
                    <c:v>29-Jul</c:v>
                  </c:pt>
                  <c:pt idx="513">
                    <c:v>30-Jul</c:v>
                  </c:pt>
                  <c:pt idx="514">
                    <c:v>31-Jul</c:v>
                  </c:pt>
                  <c:pt idx="515">
                    <c:v>01-Aug</c:v>
                  </c:pt>
                  <c:pt idx="516">
                    <c:v>02-Aug</c:v>
                  </c:pt>
                  <c:pt idx="517">
                    <c:v>03-Aug</c:v>
                  </c:pt>
                  <c:pt idx="518">
                    <c:v>04-Aug</c:v>
                  </c:pt>
                  <c:pt idx="519">
                    <c:v>05-Aug</c:v>
                  </c:pt>
                  <c:pt idx="520">
                    <c:v>06-Aug</c:v>
                  </c:pt>
                  <c:pt idx="521">
                    <c:v>07-Aug</c:v>
                  </c:pt>
                  <c:pt idx="522">
                    <c:v>08-Aug</c:v>
                  </c:pt>
                  <c:pt idx="523">
                    <c:v>09-Aug</c:v>
                  </c:pt>
                  <c:pt idx="524">
                    <c:v>10-Aug</c:v>
                  </c:pt>
                  <c:pt idx="525">
                    <c:v>11-Aug</c:v>
                  </c:pt>
                  <c:pt idx="526">
                    <c:v>12-Aug</c:v>
                  </c:pt>
                  <c:pt idx="527">
                    <c:v>13-Aug</c:v>
                  </c:pt>
                  <c:pt idx="528">
                    <c:v>14-Aug</c:v>
                  </c:pt>
                  <c:pt idx="529">
                    <c:v>15-Aug</c:v>
                  </c:pt>
                  <c:pt idx="530">
                    <c:v>16-Aug</c:v>
                  </c:pt>
                  <c:pt idx="531">
                    <c:v>17-Aug</c:v>
                  </c:pt>
                  <c:pt idx="532">
                    <c:v>18-Aug</c:v>
                  </c:pt>
                  <c:pt idx="533">
                    <c:v>19-Aug</c:v>
                  </c:pt>
                  <c:pt idx="534">
                    <c:v>20-Aug</c:v>
                  </c:pt>
                  <c:pt idx="535">
                    <c:v>21-Aug</c:v>
                  </c:pt>
                  <c:pt idx="536">
                    <c:v>22-Aug</c:v>
                  </c:pt>
                  <c:pt idx="537">
                    <c:v>23-Aug</c:v>
                  </c:pt>
                  <c:pt idx="538">
                    <c:v>24-Aug</c:v>
                  </c:pt>
                  <c:pt idx="539">
                    <c:v>25-Aug</c:v>
                  </c:pt>
                  <c:pt idx="540">
                    <c:v>26-Aug</c:v>
                  </c:pt>
                  <c:pt idx="541">
                    <c:v>27-Aug</c:v>
                  </c:pt>
                  <c:pt idx="542">
                    <c:v>28-Aug</c:v>
                  </c:pt>
                  <c:pt idx="543">
                    <c:v>29-Aug</c:v>
                  </c:pt>
                  <c:pt idx="544">
                    <c:v>30-Aug</c:v>
                  </c:pt>
                  <c:pt idx="545">
                    <c:v>31-Aug</c:v>
                  </c:pt>
                  <c:pt idx="546">
                    <c:v>01-Sep</c:v>
                  </c:pt>
                  <c:pt idx="547">
                    <c:v>02-Sep</c:v>
                  </c:pt>
                  <c:pt idx="548">
                    <c:v>03-Sep</c:v>
                  </c:pt>
                  <c:pt idx="549">
                    <c:v>04-Sep</c:v>
                  </c:pt>
                  <c:pt idx="550">
                    <c:v>05-Sep</c:v>
                  </c:pt>
                  <c:pt idx="551">
                    <c:v>06-Sep</c:v>
                  </c:pt>
                  <c:pt idx="552">
                    <c:v>07-Sep</c:v>
                  </c:pt>
                  <c:pt idx="553">
                    <c:v>08-Sep</c:v>
                  </c:pt>
                  <c:pt idx="554">
                    <c:v>09-Sep</c:v>
                  </c:pt>
                  <c:pt idx="555">
                    <c:v>10-Sep</c:v>
                  </c:pt>
                  <c:pt idx="556">
                    <c:v>11-Sep</c:v>
                  </c:pt>
                  <c:pt idx="557">
                    <c:v>12-Sep</c:v>
                  </c:pt>
                  <c:pt idx="558">
                    <c:v>13-Sep</c:v>
                  </c:pt>
                  <c:pt idx="559">
                    <c:v>14-Sep</c:v>
                  </c:pt>
                  <c:pt idx="560">
                    <c:v>15-Sep</c:v>
                  </c:pt>
                  <c:pt idx="561">
                    <c:v>16-Sep</c:v>
                  </c:pt>
                  <c:pt idx="562">
                    <c:v>17-Sep</c:v>
                  </c:pt>
                  <c:pt idx="563">
                    <c:v>18-Sep</c:v>
                  </c:pt>
                  <c:pt idx="564">
                    <c:v>19-Sep</c:v>
                  </c:pt>
                  <c:pt idx="565">
                    <c:v>20-Sep</c:v>
                  </c:pt>
                  <c:pt idx="566">
                    <c:v>21-Sep</c:v>
                  </c:pt>
                  <c:pt idx="567">
                    <c:v>22-Sep</c:v>
                  </c:pt>
                  <c:pt idx="568">
                    <c:v>23-Sep</c:v>
                  </c:pt>
                  <c:pt idx="569">
                    <c:v>24-Sep</c:v>
                  </c:pt>
                  <c:pt idx="570">
                    <c:v>25-Sep</c:v>
                  </c:pt>
                  <c:pt idx="571">
                    <c:v>26-Sep</c:v>
                  </c:pt>
                  <c:pt idx="572">
                    <c:v>27-Sep</c:v>
                  </c:pt>
                  <c:pt idx="573">
                    <c:v>28-Sep</c:v>
                  </c:pt>
                  <c:pt idx="574">
                    <c:v>29-Sep</c:v>
                  </c:pt>
                  <c:pt idx="575">
                    <c:v>30-Sep</c:v>
                  </c:pt>
                  <c:pt idx="576">
                    <c:v>01-Oct</c:v>
                  </c:pt>
                  <c:pt idx="577">
                    <c:v>02-Oct</c:v>
                  </c:pt>
                  <c:pt idx="578">
                    <c:v>03-Oct</c:v>
                  </c:pt>
                  <c:pt idx="579">
                    <c:v>04-Oct</c:v>
                  </c:pt>
                  <c:pt idx="580">
                    <c:v>05-Oct</c:v>
                  </c:pt>
                  <c:pt idx="581">
                    <c:v>06-Oct</c:v>
                  </c:pt>
                  <c:pt idx="582">
                    <c:v>07-Oct</c:v>
                  </c:pt>
                  <c:pt idx="583">
                    <c:v>08-Oct</c:v>
                  </c:pt>
                  <c:pt idx="584">
                    <c:v>09-Oct</c:v>
                  </c:pt>
                  <c:pt idx="585">
                    <c:v>10-Oct</c:v>
                  </c:pt>
                  <c:pt idx="586">
                    <c:v>11-Oct</c:v>
                  </c:pt>
                  <c:pt idx="587">
                    <c:v>12-Oct</c:v>
                  </c:pt>
                  <c:pt idx="588">
                    <c:v>13-Oct</c:v>
                  </c:pt>
                  <c:pt idx="589">
                    <c:v>14-Oct</c:v>
                  </c:pt>
                  <c:pt idx="590">
                    <c:v>15-Oct</c:v>
                  </c:pt>
                  <c:pt idx="591">
                    <c:v>16-Oct</c:v>
                  </c:pt>
                  <c:pt idx="592">
                    <c:v>17-Oct</c:v>
                  </c:pt>
                  <c:pt idx="593">
                    <c:v>18-Oct</c:v>
                  </c:pt>
                  <c:pt idx="594">
                    <c:v>19-Oct</c:v>
                  </c:pt>
                  <c:pt idx="595">
                    <c:v>20-Oct</c:v>
                  </c:pt>
                  <c:pt idx="596">
                    <c:v>21-Oct</c:v>
                  </c:pt>
                  <c:pt idx="597">
                    <c:v>22-Oct</c:v>
                  </c:pt>
                  <c:pt idx="598">
                    <c:v>23-Oct</c:v>
                  </c:pt>
                  <c:pt idx="599">
                    <c:v>24-Oct</c:v>
                  </c:pt>
                  <c:pt idx="600">
                    <c:v>25-Oct</c:v>
                  </c:pt>
                  <c:pt idx="601">
                    <c:v>26-Oct</c:v>
                  </c:pt>
                  <c:pt idx="602">
                    <c:v>27-Oct</c:v>
                  </c:pt>
                  <c:pt idx="603">
                    <c:v>28-Oct</c:v>
                  </c:pt>
                  <c:pt idx="604">
                    <c:v>29-Oct</c:v>
                  </c:pt>
                  <c:pt idx="605">
                    <c:v>30-Oct</c:v>
                  </c:pt>
                  <c:pt idx="606">
                    <c:v>31-Oct</c:v>
                  </c:pt>
                  <c:pt idx="607">
                    <c:v>01-Nov</c:v>
                  </c:pt>
                  <c:pt idx="608">
                    <c:v>02-Nov</c:v>
                  </c:pt>
                  <c:pt idx="609">
                    <c:v>03-Nov</c:v>
                  </c:pt>
                  <c:pt idx="610">
                    <c:v>04-Nov</c:v>
                  </c:pt>
                  <c:pt idx="611">
                    <c:v>05-Nov</c:v>
                  </c:pt>
                  <c:pt idx="612">
                    <c:v>06-Nov</c:v>
                  </c:pt>
                  <c:pt idx="613">
                    <c:v>07-Nov</c:v>
                  </c:pt>
                  <c:pt idx="614">
                    <c:v>08-Nov</c:v>
                  </c:pt>
                  <c:pt idx="615">
                    <c:v>09-Nov</c:v>
                  </c:pt>
                  <c:pt idx="616">
                    <c:v>10-Nov</c:v>
                  </c:pt>
                  <c:pt idx="617">
                    <c:v>11-Nov</c:v>
                  </c:pt>
                  <c:pt idx="618">
                    <c:v>12-Nov</c:v>
                  </c:pt>
                  <c:pt idx="619">
                    <c:v>13-Nov</c:v>
                  </c:pt>
                  <c:pt idx="620">
                    <c:v>14-Nov</c:v>
                  </c:pt>
                  <c:pt idx="621">
                    <c:v>15-Nov</c:v>
                  </c:pt>
                  <c:pt idx="622">
                    <c:v>16-Nov</c:v>
                  </c:pt>
                  <c:pt idx="623">
                    <c:v>17-Nov</c:v>
                  </c:pt>
                  <c:pt idx="624">
                    <c:v>18-Nov</c:v>
                  </c:pt>
                  <c:pt idx="625">
                    <c:v>19-Nov</c:v>
                  </c:pt>
                  <c:pt idx="626">
                    <c:v>20-Nov</c:v>
                  </c:pt>
                  <c:pt idx="627">
                    <c:v>21-Nov</c:v>
                  </c:pt>
                  <c:pt idx="628">
                    <c:v>22-Nov</c:v>
                  </c:pt>
                  <c:pt idx="629">
                    <c:v>23-Nov</c:v>
                  </c:pt>
                  <c:pt idx="630">
                    <c:v>24-Nov</c:v>
                  </c:pt>
                  <c:pt idx="631">
                    <c:v>25-Nov</c:v>
                  </c:pt>
                  <c:pt idx="632">
                    <c:v>26-Nov</c:v>
                  </c:pt>
                  <c:pt idx="633">
                    <c:v>27-Nov</c:v>
                  </c:pt>
                  <c:pt idx="634">
                    <c:v>28-Nov</c:v>
                  </c:pt>
                  <c:pt idx="635">
                    <c:v>29-Nov</c:v>
                  </c:pt>
                  <c:pt idx="636">
                    <c:v>30-Nov</c:v>
                  </c:pt>
                  <c:pt idx="637">
                    <c:v>01-Dec</c:v>
                  </c:pt>
                  <c:pt idx="638">
                    <c:v>02-Dec</c:v>
                  </c:pt>
                  <c:pt idx="639">
                    <c:v>03-Dec</c:v>
                  </c:pt>
                  <c:pt idx="640">
                    <c:v>04-Dec</c:v>
                  </c:pt>
                  <c:pt idx="641">
                    <c:v>05-Dec</c:v>
                  </c:pt>
                  <c:pt idx="642">
                    <c:v>06-Dec</c:v>
                  </c:pt>
                  <c:pt idx="643">
                    <c:v>07-Dec</c:v>
                  </c:pt>
                  <c:pt idx="644">
                    <c:v>08-Dec</c:v>
                  </c:pt>
                  <c:pt idx="645">
                    <c:v>09-Dec</c:v>
                  </c:pt>
                  <c:pt idx="646">
                    <c:v>10-Dec</c:v>
                  </c:pt>
                  <c:pt idx="647">
                    <c:v>11-Dec</c:v>
                  </c:pt>
                  <c:pt idx="648">
                    <c:v>12-Dec</c:v>
                  </c:pt>
                  <c:pt idx="649">
                    <c:v>13-Dec</c:v>
                  </c:pt>
                  <c:pt idx="650">
                    <c:v>14-Dec</c:v>
                  </c:pt>
                  <c:pt idx="651">
                    <c:v>15-Dec</c:v>
                  </c:pt>
                  <c:pt idx="652">
                    <c:v>16-Dec</c:v>
                  </c:pt>
                  <c:pt idx="653">
                    <c:v>17-Dec</c:v>
                  </c:pt>
                  <c:pt idx="654">
                    <c:v>18-Dec</c:v>
                  </c:pt>
                  <c:pt idx="655">
                    <c:v>19-Dec</c:v>
                  </c:pt>
                  <c:pt idx="656">
                    <c:v>20-Dec</c:v>
                  </c:pt>
                  <c:pt idx="657">
                    <c:v>21-Dec</c:v>
                  </c:pt>
                  <c:pt idx="658">
                    <c:v>22-Dec</c:v>
                  </c:pt>
                  <c:pt idx="659">
                    <c:v>23-Dec</c:v>
                  </c:pt>
                  <c:pt idx="660">
                    <c:v>24-Dec</c:v>
                  </c:pt>
                  <c:pt idx="661">
                    <c:v>25-Dec</c:v>
                  </c:pt>
                  <c:pt idx="662">
                    <c:v>26-Dec</c:v>
                  </c:pt>
                  <c:pt idx="663">
                    <c:v>27-Dec</c:v>
                  </c:pt>
                  <c:pt idx="664">
                    <c:v>28-Dec</c:v>
                  </c:pt>
                  <c:pt idx="665">
                    <c:v>29-Dec</c:v>
                  </c:pt>
                  <c:pt idx="666">
                    <c:v>30-Dec</c:v>
                  </c:pt>
                  <c:pt idx="667">
                    <c:v>31-Dec</c:v>
                  </c:pt>
                  <c:pt idx="668">
                    <c:v>01-Jan</c:v>
                  </c:pt>
                  <c:pt idx="669">
                    <c:v>02-Jan</c:v>
                  </c:pt>
                  <c:pt idx="670">
                    <c:v>03-Jan</c:v>
                  </c:pt>
                  <c:pt idx="671">
                    <c:v>04-Jan</c:v>
                  </c:pt>
                  <c:pt idx="672">
                    <c:v>05-Jan</c:v>
                  </c:pt>
                  <c:pt idx="673">
                    <c:v>06-Jan</c:v>
                  </c:pt>
                  <c:pt idx="674">
                    <c:v>07-Jan</c:v>
                  </c:pt>
                  <c:pt idx="675">
                    <c:v>08-Jan</c:v>
                  </c:pt>
                  <c:pt idx="676">
                    <c:v>09-Jan</c:v>
                  </c:pt>
                  <c:pt idx="677">
                    <c:v>10-Jan</c:v>
                  </c:pt>
                  <c:pt idx="678">
                    <c:v>11-Jan</c:v>
                  </c:pt>
                  <c:pt idx="679">
                    <c:v>12-Jan</c:v>
                  </c:pt>
                  <c:pt idx="680">
                    <c:v>13-Jan</c:v>
                  </c:pt>
                  <c:pt idx="681">
                    <c:v>14-Jan</c:v>
                  </c:pt>
                  <c:pt idx="682">
                    <c:v>15-Jan</c:v>
                  </c:pt>
                  <c:pt idx="683">
                    <c:v>16-Jan</c:v>
                  </c:pt>
                  <c:pt idx="684">
                    <c:v>17-Jan</c:v>
                  </c:pt>
                  <c:pt idx="685">
                    <c:v>18-Jan</c:v>
                  </c:pt>
                  <c:pt idx="686">
                    <c:v>19-Jan</c:v>
                  </c:pt>
                  <c:pt idx="687">
                    <c:v>20-Jan</c:v>
                  </c:pt>
                  <c:pt idx="688">
                    <c:v>21-Jan</c:v>
                  </c:pt>
                  <c:pt idx="689">
                    <c:v>22-Jan</c:v>
                  </c:pt>
                  <c:pt idx="690">
                    <c:v>23-Jan</c:v>
                  </c:pt>
                  <c:pt idx="691">
                    <c:v>24-Jan</c:v>
                  </c:pt>
                  <c:pt idx="692">
                    <c:v>25-Jan</c:v>
                  </c:pt>
                  <c:pt idx="693">
                    <c:v>26-Jan</c:v>
                  </c:pt>
                  <c:pt idx="694">
                    <c:v>27-Jan</c:v>
                  </c:pt>
                  <c:pt idx="695">
                    <c:v>28-Jan</c:v>
                  </c:pt>
                  <c:pt idx="696">
                    <c:v>29-Jan</c:v>
                  </c:pt>
                  <c:pt idx="697">
                    <c:v>30-Jan</c:v>
                  </c:pt>
                  <c:pt idx="698">
                    <c:v>31-Jan</c:v>
                  </c:pt>
                  <c:pt idx="699">
                    <c:v>01-Feb</c:v>
                  </c:pt>
                  <c:pt idx="700">
                    <c:v>02-Feb</c:v>
                  </c:pt>
                  <c:pt idx="701">
                    <c:v>03-Feb</c:v>
                  </c:pt>
                  <c:pt idx="702">
                    <c:v>04-Feb</c:v>
                  </c:pt>
                  <c:pt idx="703">
                    <c:v>05-Feb</c:v>
                  </c:pt>
                  <c:pt idx="704">
                    <c:v>06-Feb</c:v>
                  </c:pt>
                  <c:pt idx="705">
                    <c:v>07-Feb</c:v>
                  </c:pt>
                  <c:pt idx="706">
                    <c:v>08-Feb</c:v>
                  </c:pt>
                  <c:pt idx="707">
                    <c:v>09-Feb</c:v>
                  </c:pt>
                  <c:pt idx="708">
                    <c:v>10-Feb</c:v>
                  </c:pt>
                  <c:pt idx="709">
                    <c:v>11-Feb</c:v>
                  </c:pt>
                  <c:pt idx="710">
                    <c:v>12-Feb</c:v>
                  </c:pt>
                  <c:pt idx="711">
                    <c:v>13-Feb</c:v>
                  </c:pt>
                  <c:pt idx="712">
                    <c:v>14-Feb</c:v>
                  </c:pt>
                  <c:pt idx="713">
                    <c:v>15-Feb</c:v>
                  </c:pt>
                  <c:pt idx="714">
                    <c:v>16-Feb</c:v>
                  </c:pt>
                  <c:pt idx="715">
                    <c:v>17-Feb</c:v>
                  </c:pt>
                  <c:pt idx="716">
                    <c:v>18-Feb</c:v>
                  </c:pt>
                  <c:pt idx="717">
                    <c:v>19-Feb</c:v>
                  </c:pt>
                  <c:pt idx="718">
                    <c:v>20-Feb</c:v>
                  </c:pt>
                  <c:pt idx="719">
                    <c:v>21-Feb</c:v>
                  </c:pt>
                  <c:pt idx="720">
                    <c:v>22-Feb</c:v>
                  </c:pt>
                  <c:pt idx="721">
                    <c:v>23-Feb</c:v>
                  </c:pt>
                  <c:pt idx="722">
                    <c:v>24-Feb</c:v>
                  </c:pt>
                  <c:pt idx="723">
                    <c:v>25-Feb</c:v>
                  </c:pt>
                  <c:pt idx="724">
                    <c:v>26-Feb</c:v>
                  </c:pt>
                  <c:pt idx="725">
                    <c:v>27-Feb</c:v>
                  </c:pt>
                  <c:pt idx="726">
                    <c:v>28-Feb</c:v>
                  </c:pt>
                  <c:pt idx="727">
                    <c:v>01-Mar</c:v>
                  </c:pt>
                  <c:pt idx="728">
                    <c:v>02-Mar</c:v>
                  </c:pt>
                  <c:pt idx="729">
                    <c:v>03-Mar</c:v>
                  </c:pt>
                  <c:pt idx="730">
                    <c:v>04-Mar</c:v>
                  </c:pt>
                  <c:pt idx="731">
                    <c:v>05-Mar</c:v>
                  </c:pt>
                  <c:pt idx="732">
                    <c:v>06-Mar</c:v>
                  </c:pt>
                  <c:pt idx="733">
                    <c:v>07-Mar</c:v>
                  </c:pt>
                  <c:pt idx="734">
                    <c:v>08-Mar</c:v>
                  </c:pt>
                  <c:pt idx="735">
                    <c:v>09-Mar</c:v>
                  </c:pt>
                  <c:pt idx="736">
                    <c:v>10-Mar</c:v>
                  </c:pt>
                  <c:pt idx="737">
                    <c:v>11-Mar</c:v>
                  </c:pt>
                  <c:pt idx="738">
                    <c:v>12-Mar</c:v>
                  </c:pt>
                  <c:pt idx="739">
                    <c:v>13-Mar</c:v>
                  </c:pt>
                  <c:pt idx="740">
                    <c:v>14-Mar</c:v>
                  </c:pt>
                  <c:pt idx="741">
                    <c:v>15-Mar</c:v>
                  </c:pt>
                  <c:pt idx="742">
                    <c:v>16-Mar</c:v>
                  </c:pt>
                  <c:pt idx="743">
                    <c:v>17-Mar</c:v>
                  </c:pt>
                  <c:pt idx="744">
                    <c:v>18-Mar</c:v>
                  </c:pt>
                  <c:pt idx="745">
                    <c:v>19-Mar</c:v>
                  </c:pt>
                  <c:pt idx="746">
                    <c:v>20-Mar</c:v>
                  </c:pt>
                  <c:pt idx="747">
                    <c:v>21-Mar</c:v>
                  </c:pt>
                  <c:pt idx="748">
                    <c:v>22-Mar</c:v>
                  </c:pt>
                  <c:pt idx="749">
                    <c:v>23-Mar</c:v>
                  </c:pt>
                  <c:pt idx="750">
                    <c:v>24-Mar</c:v>
                  </c:pt>
                  <c:pt idx="751">
                    <c:v>25-Mar</c:v>
                  </c:pt>
                  <c:pt idx="752">
                    <c:v>26-Mar</c:v>
                  </c:pt>
                  <c:pt idx="753">
                    <c:v>27-Mar</c:v>
                  </c:pt>
                  <c:pt idx="754">
                    <c:v>28-Mar</c:v>
                  </c:pt>
                  <c:pt idx="755">
                    <c:v>29-Mar</c:v>
                  </c:pt>
                  <c:pt idx="756">
                    <c:v>30-Mar</c:v>
                  </c:pt>
                  <c:pt idx="757">
                    <c:v>31-Mar</c:v>
                  </c:pt>
                  <c:pt idx="758">
                    <c:v>01-Apr</c:v>
                  </c:pt>
                  <c:pt idx="759">
                    <c:v>02-Apr</c:v>
                  </c:pt>
                  <c:pt idx="760">
                    <c:v>03-Apr</c:v>
                  </c:pt>
                  <c:pt idx="761">
                    <c:v>04-Apr</c:v>
                  </c:pt>
                  <c:pt idx="762">
                    <c:v>05-Apr</c:v>
                  </c:pt>
                  <c:pt idx="763">
                    <c:v>06-Apr</c:v>
                  </c:pt>
                  <c:pt idx="764">
                    <c:v>07-Apr</c:v>
                  </c:pt>
                  <c:pt idx="765">
                    <c:v>08-Apr</c:v>
                  </c:pt>
                  <c:pt idx="766">
                    <c:v>09-Apr</c:v>
                  </c:pt>
                  <c:pt idx="767">
                    <c:v>10-Apr</c:v>
                  </c:pt>
                  <c:pt idx="768">
                    <c:v>11-Apr</c:v>
                  </c:pt>
                  <c:pt idx="769">
                    <c:v>12-Apr</c:v>
                  </c:pt>
                  <c:pt idx="770">
                    <c:v>13-Apr</c:v>
                  </c:pt>
                  <c:pt idx="771">
                    <c:v>14-Apr</c:v>
                  </c:pt>
                  <c:pt idx="772">
                    <c:v>15-Apr</c:v>
                  </c:pt>
                  <c:pt idx="773">
                    <c:v>16-Apr</c:v>
                  </c:pt>
                  <c:pt idx="774">
                    <c:v>17-Apr</c:v>
                  </c:pt>
                  <c:pt idx="775">
                    <c:v>18-Apr</c:v>
                  </c:pt>
                  <c:pt idx="776">
                    <c:v>19-Apr</c:v>
                  </c:pt>
                  <c:pt idx="777">
                    <c:v>20-Apr</c:v>
                  </c:pt>
                  <c:pt idx="778">
                    <c:v>21-Apr</c:v>
                  </c:pt>
                  <c:pt idx="779">
                    <c:v>22-Apr</c:v>
                  </c:pt>
                  <c:pt idx="780">
                    <c:v>23-Apr</c:v>
                  </c:pt>
                  <c:pt idx="781">
                    <c:v>24-Apr</c:v>
                  </c:pt>
                  <c:pt idx="782">
                    <c:v>25-Apr</c:v>
                  </c:pt>
                  <c:pt idx="783">
                    <c:v>26-Apr</c:v>
                  </c:pt>
                  <c:pt idx="784">
                    <c:v>27-Apr</c:v>
                  </c:pt>
                  <c:pt idx="785">
                    <c:v>28-Apr</c:v>
                  </c:pt>
                  <c:pt idx="786">
                    <c:v>29-Apr</c:v>
                  </c:pt>
                  <c:pt idx="787">
                    <c:v>30-Apr</c:v>
                  </c:pt>
                  <c:pt idx="788">
                    <c:v>01-May</c:v>
                  </c:pt>
                  <c:pt idx="789">
                    <c:v>02-May</c:v>
                  </c:pt>
                  <c:pt idx="790">
                    <c:v>03-May</c:v>
                  </c:pt>
                  <c:pt idx="791">
                    <c:v>04-May</c:v>
                  </c:pt>
                  <c:pt idx="792">
                    <c:v>05-May</c:v>
                  </c:pt>
                  <c:pt idx="793">
                    <c:v>06-May</c:v>
                  </c:pt>
                  <c:pt idx="794">
                    <c:v>07-May</c:v>
                  </c:pt>
                  <c:pt idx="795">
                    <c:v>08-May</c:v>
                  </c:pt>
                  <c:pt idx="796">
                    <c:v>09-May</c:v>
                  </c:pt>
                  <c:pt idx="797">
                    <c:v>10-May</c:v>
                  </c:pt>
                  <c:pt idx="798">
                    <c:v>11-May</c:v>
                  </c:pt>
                  <c:pt idx="799">
                    <c:v>12-May</c:v>
                  </c:pt>
                  <c:pt idx="800">
                    <c:v>13-May</c:v>
                  </c:pt>
                  <c:pt idx="801">
                    <c:v>14-May</c:v>
                  </c:pt>
                  <c:pt idx="802">
                    <c:v>15-May</c:v>
                  </c:pt>
                  <c:pt idx="803">
                    <c:v>16-May</c:v>
                  </c:pt>
                  <c:pt idx="804">
                    <c:v>17-May</c:v>
                  </c:pt>
                  <c:pt idx="805">
                    <c:v>18-May</c:v>
                  </c:pt>
                  <c:pt idx="806">
                    <c:v>19-May</c:v>
                  </c:pt>
                  <c:pt idx="807">
                    <c:v>20-May</c:v>
                  </c:pt>
                  <c:pt idx="808">
                    <c:v>21-May</c:v>
                  </c:pt>
                  <c:pt idx="809">
                    <c:v>22-May</c:v>
                  </c:pt>
                  <c:pt idx="810">
                    <c:v>23-May</c:v>
                  </c:pt>
                  <c:pt idx="811">
                    <c:v>24-May</c:v>
                  </c:pt>
                  <c:pt idx="812">
                    <c:v>25-May</c:v>
                  </c:pt>
                  <c:pt idx="813">
                    <c:v>26-May</c:v>
                  </c:pt>
                  <c:pt idx="814">
                    <c:v>27-May</c:v>
                  </c:pt>
                  <c:pt idx="815">
                    <c:v>28-May</c:v>
                  </c:pt>
                  <c:pt idx="816">
                    <c:v>29-May</c:v>
                  </c:pt>
                  <c:pt idx="817">
                    <c:v>30-May</c:v>
                  </c:pt>
                  <c:pt idx="818">
                    <c:v>31-May</c:v>
                  </c:pt>
                  <c:pt idx="819">
                    <c:v>01-Jun</c:v>
                  </c:pt>
                  <c:pt idx="820">
                    <c:v>02-Jun</c:v>
                  </c:pt>
                  <c:pt idx="821">
                    <c:v>03-Jun</c:v>
                  </c:pt>
                  <c:pt idx="822">
                    <c:v>04-Jun</c:v>
                  </c:pt>
                  <c:pt idx="823">
                    <c:v>05-Jun</c:v>
                  </c:pt>
                  <c:pt idx="824">
                    <c:v>06-Jun</c:v>
                  </c:pt>
                  <c:pt idx="825">
                    <c:v>07-Jun</c:v>
                  </c:pt>
                  <c:pt idx="826">
                    <c:v>08-Jun</c:v>
                  </c:pt>
                  <c:pt idx="827">
                    <c:v>09-Jun</c:v>
                  </c:pt>
                  <c:pt idx="828">
                    <c:v>10-Jun</c:v>
                  </c:pt>
                  <c:pt idx="829">
                    <c:v>11-Jun</c:v>
                  </c:pt>
                  <c:pt idx="830">
                    <c:v>12-Jun</c:v>
                  </c:pt>
                  <c:pt idx="831">
                    <c:v>13-Jun</c:v>
                  </c:pt>
                  <c:pt idx="832">
                    <c:v>14-Jun</c:v>
                  </c:pt>
                  <c:pt idx="833">
                    <c:v>15-Jun</c:v>
                  </c:pt>
                  <c:pt idx="834">
                    <c:v>16-Jun</c:v>
                  </c:pt>
                  <c:pt idx="835">
                    <c:v>17-Jun</c:v>
                  </c:pt>
                  <c:pt idx="836">
                    <c:v>18-Jun</c:v>
                  </c:pt>
                  <c:pt idx="837">
                    <c:v>19-Jun</c:v>
                  </c:pt>
                  <c:pt idx="838">
                    <c:v>20-Jun</c:v>
                  </c:pt>
                  <c:pt idx="839">
                    <c:v>21-Jun</c:v>
                  </c:pt>
                  <c:pt idx="840">
                    <c:v>22-Jun</c:v>
                  </c:pt>
                  <c:pt idx="841">
                    <c:v>23-Jun</c:v>
                  </c:pt>
                  <c:pt idx="842">
                    <c:v>24-Jun</c:v>
                  </c:pt>
                  <c:pt idx="843">
                    <c:v>25-Jun</c:v>
                  </c:pt>
                  <c:pt idx="844">
                    <c:v>26-Jun</c:v>
                  </c:pt>
                  <c:pt idx="845">
                    <c:v>27-Jun</c:v>
                  </c:pt>
                  <c:pt idx="846">
                    <c:v>28-Jun</c:v>
                  </c:pt>
                  <c:pt idx="847">
                    <c:v>29-Jun</c:v>
                  </c:pt>
                  <c:pt idx="848">
                    <c:v>30-Jun</c:v>
                  </c:pt>
                  <c:pt idx="849">
                    <c:v>01-Jul</c:v>
                  </c:pt>
                  <c:pt idx="850">
                    <c:v>02-Jul</c:v>
                  </c:pt>
                  <c:pt idx="851">
                    <c:v>03-Jul</c:v>
                  </c:pt>
                  <c:pt idx="852">
                    <c:v>04-Jul</c:v>
                  </c:pt>
                  <c:pt idx="853">
                    <c:v>05-Jul</c:v>
                  </c:pt>
                  <c:pt idx="854">
                    <c:v>06-Jul</c:v>
                  </c:pt>
                  <c:pt idx="855">
                    <c:v>07-Jul</c:v>
                  </c:pt>
                  <c:pt idx="856">
                    <c:v>08-Jul</c:v>
                  </c:pt>
                  <c:pt idx="857">
                    <c:v>09-Jul</c:v>
                  </c:pt>
                  <c:pt idx="858">
                    <c:v>10-Jul</c:v>
                  </c:pt>
                  <c:pt idx="859">
                    <c:v>11-Jul</c:v>
                  </c:pt>
                  <c:pt idx="860">
                    <c:v>12-Jul</c:v>
                  </c:pt>
                  <c:pt idx="861">
                    <c:v>13-Jul</c:v>
                  </c:pt>
                  <c:pt idx="862">
                    <c:v>14-Jul</c:v>
                  </c:pt>
                  <c:pt idx="863">
                    <c:v>15-Jul</c:v>
                  </c:pt>
                  <c:pt idx="864">
                    <c:v>16-Jul</c:v>
                  </c:pt>
                  <c:pt idx="865">
                    <c:v>17-Jul</c:v>
                  </c:pt>
                  <c:pt idx="866">
                    <c:v>18-Jul</c:v>
                  </c:pt>
                  <c:pt idx="867">
                    <c:v>19-Jul</c:v>
                  </c:pt>
                  <c:pt idx="868">
                    <c:v>20-Jul</c:v>
                  </c:pt>
                  <c:pt idx="869">
                    <c:v>21-Jul</c:v>
                  </c:pt>
                  <c:pt idx="870">
                    <c:v>22-Jul</c:v>
                  </c:pt>
                  <c:pt idx="871">
                    <c:v>23-Jul</c:v>
                  </c:pt>
                  <c:pt idx="872">
                    <c:v>24-Jul</c:v>
                  </c:pt>
                  <c:pt idx="873">
                    <c:v>25-Jul</c:v>
                  </c:pt>
                  <c:pt idx="874">
                    <c:v>26-Jul</c:v>
                  </c:pt>
                  <c:pt idx="875">
                    <c:v>27-Jul</c:v>
                  </c:pt>
                  <c:pt idx="876">
                    <c:v>28-Jul</c:v>
                  </c:pt>
                  <c:pt idx="877">
                    <c:v>29-Jul</c:v>
                  </c:pt>
                  <c:pt idx="878">
                    <c:v>30-Jul</c:v>
                  </c:pt>
                  <c:pt idx="879">
                    <c:v>31-Jul</c:v>
                  </c:pt>
                  <c:pt idx="880">
                    <c:v>01-Aug</c:v>
                  </c:pt>
                  <c:pt idx="881">
                    <c:v>02-Aug</c:v>
                  </c:pt>
                  <c:pt idx="882">
                    <c:v>03-Aug</c:v>
                  </c:pt>
                  <c:pt idx="883">
                    <c:v>04-Aug</c:v>
                  </c:pt>
                  <c:pt idx="884">
                    <c:v>05-Aug</c:v>
                  </c:pt>
                  <c:pt idx="885">
                    <c:v>06-Aug</c:v>
                  </c:pt>
                  <c:pt idx="886">
                    <c:v>07-Aug</c:v>
                  </c:pt>
                  <c:pt idx="887">
                    <c:v>08-Aug</c:v>
                  </c:pt>
                  <c:pt idx="888">
                    <c:v>09-Aug</c:v>
                  </c:pt>
                  <c:pt idx="889">
                    <c:v>10-Aug</c:v>
                  </c:pt>
                  <c:pt idx="890">
                    <c:v>11-Aug</c:v>
                  </c:pt>
                  <c:pt idx="891">
                    <c:v>12-Aug</c:v>
                  </c:pt>
                  <c:pt idx="892">
                    <c:v>13-Aug</c:v>
                  </c:pt>
                  <c:pt idx="893">
                    <c:v>14-Aug</c:v>
                  </c:pt>
                  <c:pt idx="894">
                    <c:v>15-Aug</c:v>
                  </c:pt>
                  <c:pt idx="895">
                    <c:v>16-Aug</c:v>
                  </c:pt>
                  <c:pt idx="896">
                    <c:v>17-Aug</c:v>
                  </c:pt>
                  <c:pt idx="897">
                    <c:v>18-Aug</c:v>
                  </c:pt>
                  <c:pt idx="898">
                    <c:v>19-Aug</c:v>
                  </c:pt>
                  <c:pt idx="899">
                    <c:v>20-Aug</c:v>
                  </c:pt>
                  <c:pt idx="900">
                    <c:v>21-Aug</c:v>
                  </c:pt>
                  <c:pt idx="901">
                    <c:v>22-Aug</c:v>
                  </c:pt>
                  <c:pt idx="902">
                    <c:v>23-Aug</c:v>
                  </c:pt>
                  <c:pt idx="903">
                    <c:v>24-Aug</c:v>
                  </c:pt>
                  <c:pt idx="904">
                    <c:v>25-Aug</c:v>
                  </c:pt>
                  <c:pt idx="905">
                    <c:v>26-Aug</c:v>
                  </c:pt>
                  <c:pt idx="906">
                    <c:v>27-Aug</c:v>
                  </c:pt>
                  <c:pt idx="907">
                    <c:v>28-Aug</c:v>
                  </c:pt>
                  <c:pt idx="908">
                    <c:v>29-Aug</c:v>
                  </c:pt>
                  <c:pt idx="909">
                    <c:v>30-Aug</c:v>
                  </c:pt>
                  <c:pt idx="910">
                    <c:v>31-Aug</c:v>
                  </c:pt>
                  <c:pt idx="911">
                    <c:v>01-Sep</c:v>
                  </c:pt>
                  <c:pt idx="912">
                    <c:v>02-Sep</c:v>
                  </c:pt>
                  <c:pt idx="913">
                    <c:v>03-Sep</c:v>
                  </c:pt>
                  <c:pt idx="914">
                    <c:v>04-Sep</c:v>
                  </c:pt>
                  <c:pt idx="915">
                    <c:v>05-Sep</c:v>
                  </c:pt>
                  <c:pt idx="916">
                    <c:v>06-Sep</c:v>
                  </c:pt>
                  <c:pt idx="917">
                    <c:v>07-Sep</c:v>
                  </c:pt>
                  <c:pt idx="918">
                    <c:v>08-Sep</c:v>
                  </c:pt>
                  <c:pt idx="919">
                    <c:v>09-Sep</c:v>
                  </c:pt>
                  <c:pt idx="920">
                    <c:v>10-Sep</c:v>
                  </c:pt>
                  <c:pt idx="921">
                    <c:v>11-Sep</c:v>
                  </c:pt>
                  <c:pt idx="922">
                    <c:v>12-Sep</c:v>
                  </c:pt>
                  <c:pt idx="923">
                    <c:v>13-Sep</c:v>
                  </c:pt>
                  <c:pt idx="924">
                    <c:v>14-Sep</c:v>
                  </c:pt>
                  <c:pt idx="925">
                    <c:v>15-Sep</c:v>
                  </c:pt>
                  <c:pt idx="926">
                    <c:v>16-Sep</c:v>
                  </c:pt>
                  <c:pt idx="927">
                    <c:v>17-Sep</c:v>
                  </c:pt>
                  <c:pt idx="928">
                    <c:v>18-Sep</c:v>
                  </c:pt>
                  <c:pt idx="929">
                    <c:v>19-Sep</c:v>
                  </c:pt>
                  <c:pt idx="930">
                    <c:v>20-Sep</c:v>
                  </c:pt>
                  <c:pt idx="931">
                    <c:v>21-Sep</c:v>
                  </c:pt>
                  <c:pt idx="932">
                    <c:v>22-Sep</c:v>
                  </c:pt>
                  <c:pt idx="933">
                    <c:v>23-Sep</c:v>
                  </c:pt>
                  <c:pt idx="934">
                    <c:v>24-Sep</c:v>
                  </c:pt>
                  <c:pt idx="935">
                    <c:v>25-Sep</c:v>
                  </c:pt>
                  <c:pt idx="936">
                    <c:v>26-Sep</c:v>
                  </c:pt>
                  <c:pt idx="937">
                    <c:v>27-Sep</c:v>
                  </c:pt>
                  <c:pt idx="938">
                    <c:v>28-Sep</c:v>
                  </c:pt>
                  <c:pt idx="939">
                    <c:v>29-Sep</c:v>
                  </c:pt>
                  <c:pt idx="940">
                    <c:v>30-Sep</c:v>
                  </c:pt>
                  <c:pt idx="941">
                    <c:v>01-Oct</c:v>
                  </c:pt>
                  <c:pt idx="942">
                    <c:v>02-Oct</c:v>
                  </c:pt>
                  <c:pt idx="943">
                    <c:v>03-Oct</c:v>
                  </c:pt>
                  <c:pt idx="944">
                    <c:v>04-Oct</c:v>
                  </c:pt>
                  <c:pt idx="945">
                    <c:v>05-Oct</c:v>
                  </c:pt>
                  <c:pt idx="946">
                    <c:v>06-Oct</c:v>
                  </c:pt>
                  <c:pt idx="947">
                    <c:v>07-Oct</c:v>
                  </c:pt>
                  <c:pt idx="948">
                    <c:v>08-Oct</c:v>
                  </c:pt>
                  <c:pt idx="949">
                    <c:v>09-Oct</c:v>
                  </c:pt>
                  <c:pt idx="950">
                    <c:v>10-Oct</c:v>
                  </c:pt>
                  <c:pt idx="951">
                    <c:v>11-Oct</c:v>
                  </c:pt>
                  <c:pt idx="952">
                    <c:v>12-Oct</c:v>
                  </c:pt>
                  <c:pt idx="953">
                    <c:v>13-Oct</c:v>
                  </c:pt>
                  <c:pt idx="954">
                    <c:v>14-Oct</c:v>
                  </c:pt>
                  <c:pt idx="955">
                    <c:v>15-Oct</c:v>
                  </c:pt>
                  <c:pt idx="956">
                    <c:v>16-Oct</c:v>
                  </c:pt>
                  <c:pt idx="957">
                    <c:v>17-Oct</c:v>
                  </c:pt>
                  <c:pt idx="958">
                    <c:v>18-Oct</c:v>
                  </c:pt>
                  <c:pt idx="959">
                    <c:v>19-Oct</c:v>
                  </c:pt>
                  <c:pt idx="960">
                    <c:v>20-Oct</c:v>
                  </c:pt>
                  <c:pt idx="961">
                    <c:v>21-Oct</c:v>
                  </c:pt>
                  <c:pt idx="962">
                    <c:v>22-Oct</c:v>
                  </c:pt>
                  <c:pt idx="963">
                    <c:v>23-Oct</c:v>
                  </c:pt>
                  <c:pt idx="964">
                    <c:v>24-Oct</c:v>
                  </c:pt>
                  <c:pt idx="965">
                    <c:v>25-Oct</c:v>
                  </c:pt>
                  <c:pt idx="966">
                    <c:v>26-Oct</c:v>
                  </c:pt>
                  <c:pt idx="967">
                    <c:v>27-Oct</c:v>
                  </c:pt>
                  <c:pt idx="968">
                    <c:v>28-Oct</c:v>
                  </c:pt>
                  <c:pt idx="969">
                    <c:v>29-Oct</c:v>
                  </c:pt>
                  <c:pt idx="970">
                    <c:v>30-Oct</c:v>
                  </c:pt>
                  <c:pt idx="971">
                    <c:v>31-Oct</c:v>
                  </c:pt>
                  <c:pt idx="972">
                    <c:v>01-Nov</c:v>
                  </c:pt>
                  <c:pt idx="973">
                    <c:v>02-Nov</c:v>
                  </c:pt>
                  <c:pt idx="974">
                    <c:v>03-Nov</c:v>
                  </c:pt>
                  <c:pt idx="975">
                    <c:v>04-Nov</c:v>
                  </c:pt>
                  <c:pt idx="976">
                    <c:v>05-Nov</c:v>
                  </c:pt>
                  <c:pt idx="977">
                    <c:v>06-Nov</c:v>
                  </c:pt>
                  <c:pt idx="978">
                    <c:v>07-Nov</c:v>
                  </c:pt>
                  <c:pt idx="979">
                    <c:v>08-Nov</c:v>
                  </c:pt>
                  <c:pt idx="980">
                    <c:v>09-Nov</c:v>
                  </c:pt>
                  <c:pt idx="981">
                    <c:v>10-Nov</c:v>
                  </c:pt>
                  <c:pt idx="982">
                    <c:v>11-Nov</c:v>
                  </c:pt>
                  <c:pt idx="983">
                    <c:v>12-Nov</c:v>
                  </c:pt>
                  <c:pt idx="984">
                    <c:v>13-Nov</c:v>
                  </c:pt>
                  <c:pt idx="985">
                    <c:v>14-Nov</c:v>
                  </c:pt>
                  <c:pt idx="986">
                    <c:v>15-Nov</c:v>
                  </c:pt>
                  <c:pt idx="987">
                    <c:v>16-Nov</c:v>
                  </c:pt>
                  <c:pt idx="988">
                    <c:v>17-Nov</c:v>
                  </c:pt>
                  <c:pt idx="989">
                    <c:v>18-Nov</c:v>
                  </c:pt>
                  <c:pt idx="990">
                    <c:v>19-Nov</c:v>
                  </c:pt>
                </c:lvl>
                <c:lvl>
                  <c:pt idx="0">
                    <c:v>2020</c:v>
                  </c:pt>
                  <c:pt idx="303">
                    <c:v>2021</c:v>
                  </c:pt>
                  <c:pt idx="669">
                    <c:v>2022</c:v>
                  </c:pt>
                </c:lvl>
              </c:multiLvlStrCache>
            </c:multiLvlStrRef>
          </c:cat>
          <c:val>
            <c:numRef>
              <c:f>'National epi curve'!$N$3:$N$993</c:f>
              <c:numCache>
                <c:formatCode>General</c:formatCode>
                <c:ptCount val="991"/>
                <c:pt idx="0">
                  <c:v>2</c:v>
                </c:pt>
                <c:pt idx="1">
                  <c:v>4</c:v>
                </c:pt>
                <c:pt idx="2">
                  <c:v>6</c:v>
                </c:pt>
                <c:pt idx="3">
                  <c:v>11</c:v>
                </c:pt>
                <c:pt idx="4">
                  <c:v>15</c:v>
                </c:pt>
                <c:pt idx="5">
                  <c:v>20</c:v>
                </c:pt>
                <c:pt idx="6">
                  <c:v>26</c:v>
                </c:pt>
                <c:pt idx="7">
                  <c:v>37</c:v>
                </c:pt>
                <c:pt idx="8">
                  <c:v>55</c:v>
                </c:pt>
                <c:pt idx="9">
                  <c:v>72</c:v>
                </c:pt>
                <c:pt idx="10">
                  <c:v>87</c:v>
                </c:pt>
                <c:pt idx="11">
                  <c:v>110</c:v>
                </c:pt>
                <c:pt idx="12">
                  <c:v>274</c:v>
                </c:pt>
                <c:pt idx="13">
                  <c:v>426</c:v>
                </c:pt>
                <c:pt idx="14">
                  <c:v>592</c:v>
                </c:pt>
                <c:pt idx="15">
                  <c:v>734</c:v>
                </c:pt>
                <c:pt idx="16">
                  <c:v>851</c:v>
                </c:pt>
                <c:pt idx="17">
                  <c:v>929</c:v>
                </c:pt>
                <c:pt idx="18">
                  <c:v>971</c:v>
                </c:pt>
                <c:pt idx="19">
                  <c:v>1119</c:v>
                </c:pt>
                <c:pt idx="20">
                  <c:v>1194</c:v>
                </c:pt>
                <c:pt idx="21">
                  <c:v>1259</c:v>
                </c:pt>
                <c:pt idx="22">
                  <c:v>1307</c:v>
                </c:pt>
                <c:pt idx="23">
                  <c:v>1371</c:v>
                </c:pt>
                <c:pt idx="24">
                  <c:v>1406</c:v>
                </c:pt>
                <c:pt idx="25">
                  <c:v>1432</c:v>
                </c:pt>
                <c:pt idx="26">
                  <c:v>1502</c:v>
                </c:pt>
                <c:pt idx="27">
                  <c:v>1559</c:v>
                </c:pt>
                <c:pt idx="28">
                  <c:v>1611</c:v>
                </c:pt>
                <c:pt idx="29">
                  <c:v>1676</c:v>
                </c:pt>
                <c:pt idx="30">
                  <c:v>1755</c:v>
                </c:pt>
                <c:pt idx="31">
                  <c:v>1822</c:v>
                </c:pt>
                <c:pt idx="32">
                  <c:v>1874</c:v>
                </c:pt>
                <c:pt idx="33">
                  <c:v>1972</c:v>
                </c:pt>
                <c:pt idx="34">
                  <c:v>2058</c:v>
                </c:pt>
                <c:pt idx="35">
                  <c:v>2175</c:v>
                </c:pt>
                <c:pt idx="36">
                  <c:v>2295</c:v>
                </c:pt>
                <c:pt idx="37">
                  <c:v>2360</c:v>
                </c:pt>
                <c:pt idx="38">
                  <c:v>2501</c:v>
                </c:pt>
                <c:pt idx="39">
                  <c:v>2571</c:v>
                </c:pt>
                <c:pt idx="40">
                  <c:v>2632</c:v>
                </c:pt>
                <c:pt idx="41">
                  <c:v>2784</c:v>
                </c:pt>
                <c:pt idx="42">
                  <c:v>2975</c:v>
                </c:pt>
                <c:pt idx="43">
                  <c:v>3243</c:v>
                </c:pt>
                <c:pt idx="44">
                  <c:v>3461</c:v>
                </c:pt>
                <c:pt idx="45">
                  <c:v>3663</c:v>
                </c:pt>
                <c:pt idx="46">
                  <c:v>3741</c:v>
                </c:pt>
                <c:pt idx="47">
                  <c:v>4101</c:v>
                </c:pt>
                <c:pt idx="48">
                  <c:v>4404</c:v>
                </c:pt>
                <c:pt idx="49">
                  <c:v>4750</c:v>
                </c:pt>
                <c:pt idx="50">
                  <c:v>5070</c:v>
                </c:pt>
                <c:pt idx="51">
                  <c:v>5470</c:v>
                </c:pt>
                <c:pt idx="52">
                  <c:v>5645</c:v>
                </c:pt>
                <c:pt idx="53">
                  <c:v>5835</c:v>
                </c:pt>
                <c:pt idx="54">
                  <c:v>6017</c:v>
                </c:pt>
                <c:pt idx="55">
                  <c:v>6628</c:v>
                </c:pt>
                <c:pt idx="56">
                  <c:v>7224</c:v>
                </c:pt>
                <c:pt idx="57">
                  <c:v>7957</c:v>
                </c:pt>
                <c:pt idx="58">
                  <c:v>8347</c:v>
                </c:pt>
                <c:pt idx="59">
                  <c:v>8634</c:v>
                </c:pt>
                <c:pt idx="60">
                  <c:v>8895</c:v>
                </c:pt>
                <c:pt idx="61">
                  <c:v>9802</c:v>
                </c:pt>
                <c:pt idx="62">
                  <c:v>11080</c:v>
                </c:pt>
                <c:pt idx="63">
                  <c:v>11978</c:v>
                </c:pt>
                <c:pt idx="64">
                  <c:v>12842</c:v>
                </c:pt>
                <c:pt idx="65">
                  <c:v>13775</c:v>
                </c:pt>
                <c:pt idx="66">
                  <c:v>14327</c:v>
                </c:pt>
                <c:pt idx="67">
                  <c:v>14653</c:v>
                </c:pt>
                <c:pt idx="68">
                  <c:v>16177</c:v>
                </c:pt>
                <c:pt idx="69">
                  <c:v>17606</c:v>
                </c:pt>
                <c:pt idx="70">
                  <c:v>18869</c:v>
                </c:pt>
                <c:pt idx="71">
                  <c:v>20137</c:v>
                </c:pt>
                <c:pt idx="72">
                  <c:v>21467</c:v>
                </c:pt>
                <c:pt idx="73">
                  <c:v>22003</c:v>
                </c:pt>
                <c:pt idx="74">
                  <c:v>22463</c:v>
                </c:pt>
                <c:pt idx="75">
                  <c:v>24486</c:v>
                </c:pt>
                <c:pt idx="76">
                  <c:v>26310</c:v>
                </c:pt>
                <c:pt idx="77">
                  <c:v>28186</c:v>
                </c:pt>
                <c:pt idx="78">
                  <c:v>29961</c:v>
                </c:pt>
                <c:pt idx="79">
                  <c:v>31916</c:v>
                </c:pt>
                <c:pt idx="80">
                  <c:v>32883</c:v>
                </c:pt>
                <c:pt idx="81">
                  <c:v>33440</c:v>
                </c:pt>
                <c:pt idx="82">
                  <c:v>35781</c:v>
                </c:pt>
                <c:pt idx="83">
                  <c:v>37928</c:v>
                </c:pt>
                <c:pt idx="84">
                  <c:v>39937</c:v>
                </c:pt>
                <c:pt idx="85">
                  <c:v>42006</c:v>
                </c:pt>
                <c:pt idx="86">
                  <c:v>44070</c:v>
                </c:pt>
                <c:pt idx="87">
                  <c:v>45115</c:v>
                </c:pt>
                <c:pt idx="88">
                  <c:v>45769</c:v>
                </c:pt>
                <c:pt idx="89">
                  <c:v>48594</c:v>
                </c:pt>
                <c:pt idx="90">
                  <c:v>51057</c:v>
                </c:pt>
                <c:pt idx="91">
                  <c:v>53407</c:v>
                </c:pt>
                <c:pt idx="92">
                  <c:v>55663</c:v>
                </c:pt>
                <c:pt idx="93">
                  <c:v>58047</c:v>
                </c:pt>
                <c:pt idx="94">
                  <c:v>59258</c:v>
                </c:pt>
                <c:pt idx="95">
                  <c:v>60115</c:v>
                </c:pt>
                <c:pt idx="96">
                  <c:v>63735</c:v>
                </c:pt>
                <c:pt idx="97">
                  <c:v>67316</c:v>
                </c:pt>
                <c:pt idx="98">
                  <c:v>70863</c:v>
                </c:pt>
                <c:pt idx="99">
                  <c:v>74757</c:v>
                </c:pt>
                <c:pt idx="100">
                  <c:v>78626</c:v>
                </c:pt>
                <c:pt idx="101">
                  <c:v>80539</c:v>
                </c:pt>
                <c:pt idx="102">
                  <c:v>82197</c:v>
                </c:pt>
                <c:pt idx="103">
                  <c:v>88446</c:v>
                </c:pt>
                <c:pt idx="104">
                  <c:v>90239</c:v>
                </c:pt>
                <c:pt idx="105">
                  <c:v>96331</c:v>
                </c:pt>
                <c:pt idx="106">
                  <c:v>102502</c:v>
                </c:pt>
                <c:pt idx="107">
                  <c:v>108680</c:v>
                </c:pt>
                <c:pt idx="108">
                  <c:v>111861</c:v>
                </c:pt>
                <c:pt idx="109">
                  <c:v>113822</c:v>
                </c:pt>
                <c:pt idx="110">
                  <c:v>122779</c:v>
                </c:pt>
                <c:pt idx="111">
                  <c:v>131587</c:v>
                </c:pt>
                <c:pt idx="112">
                  <c:v>140937</c:v>
                </c:pt>
                <c:pt idx="113">
                  <c:v>150651</c:v>
                </c:pt>
                <c:pt idx="114">
                  <c:v>160522</c:v>
                </c:pt>
                <c:pt idx="115">
                  <c:v>164455</c:v>
                </c:pt>
                <c:pt idx="116">
                  <c:v>167510</c:v>
                </c:pt>
                <c:pt idx="117">
                  <c:v>182016</c:v>
                </c:pt>
                <c:pt idx="118">
                  <c:v>195373</c:v>
                </c:pt>
                <c:pt idx="119">
                  <c:v>207881</c:v>
                </c:pt>
                <c:pt idx="120">
                  <c:v>220141</c:v>
                </c:pt>
                <c:pt idx="121">
                  <c:v>231779</c:v>
                </c:pt>
                <c:pt idx="122">
                  <c:v>236794</c:v>
                </c:pt>
                <c:pt idx="123">
                  <c:v>240183</c:v>
                </c:pt>
                <c:pt idx="124">
                  <c:v>256620</c:v>
                </c:pt>
                <c:pt idx="125">
                  <c:v>272269</c:v>
                </c:pt>
                <c:pt idx="126">
                  <c:v>286254</c:v>
                </c:pt>
                <c:pt idx="127">
                  <c:v>300215</c:v>
                </c:pt>
                <c:pt idx="128">
                  <c:v>313938</c:v>
                </c:pt>
                <c:pt idx="129">
                  <c:v>319137</c:v>
                </c:pt>
                <c:pt idx="130">
                  <c:v>322551</c:v>
                </c:pt>
                <c:pt idx="131">
                  <c:v>339890</c:v>
                </c:pt>
                <c:pt idx="132">
                  <c:v>354901</c:v>
                </c:pt>
                <c:pt idx="133">
                  <c:v>368232</c:v>
                </c:pt>
                <c:pt idx="134">
                  <c:v>381368</c:v>
                </c:pt>
                <c:pt idx="135">
                  <c:v>394725</c:v>
                </c:pt>
                <c:pt idx="136">
                  <c:v>400238</c:v>
                </c:pt>
                <c:pt idx="137">
                  <c:v>403617</c:v>
                </c:pt>
                <c:pt idx="138">
                  <c:v>421073</c:v>
                </c:pt>
                <c:pt idx="139">
                  <c:v>435683</c:v>
                </c:pt>
                <c:pt idx="140">
                  <c:v>448392</c:v>
                </c:pt>
                <c:pt idx="141">
                  <c:v>460319</c:v>
                </c:pt>
                <c:pt idx="142">
                  <c:v>470890</c:v>
                </c:pt>
                <c:pt idx="143">
                  <c:v>475242</c:v>
                </c:pt>
                <c:pt idx="144">
                  <c:v>477920</c:v>
                </c:pt>
                <c:pt idx="145">
                  <c:v>491291</c:v>
                </c:pt>
                <c:pt idx="146">
                  <c:v>501872</c:v>
                </c:pt>
                <c:pt idx="147">
                  <c:v>511317</c:v>
                </c:pt>
                <c:pt idx="148">
                  <c:v>519891</c:v>
                </c:pt>
                <c:pt idx="149">
                  <c:v>527568</c:v>
                </c:pt>
                <c:pt idx="150">
                  <c:v>530701</c:v>
                </c:pt>
                <c:pt idx="151">
                  <c:v>532541</c:v>
                </c:pt>
                <c:pt idx="152">
                  <c:v>542232</c:v>
                </c:pt>
                <c:pt idx="153">
                  <c:v>549723</c:v>
                </c:pt>
                <c:pt idx="154">
                  <c:v>556043</c:v>
                </c:pt>
                <c:pt idx="155">
                  <c:v>562086</c:v>
                </c:pt>
                <c:pt idx="156">
                  <c:v>567246</c:v>
                </c:pt>
                <c:pt idx="157">
                  <c:v>569392</c:v>
                </c:pt>
                <c:pt idx="158">
                  <c:v>570814</c:v>
                </c:pt>
                <c:pt idx="159">
                  <c:v>572458</c:v>
                </c:pt>
                <c:pt idx="160">
                  <c:v>579184</c:v>
                </c:pt>
                <c:pt idx="161">
                  <c:v>584304</c:v>
                </c:pt>
                <c:pt idx="162">
                  <c:v>588448</c:v>
                </c:pt>
                <c:pt idx="163">
                  <c:v>592366</c:v>
                </c:pt>
                <c:pt idx="164">
                  <c:v>593956</c:v>
                </c:pt>
                <c:pt idx="165">
                  <c:v>595001</c:v>
                </c:pt>
                <c:pt idx="166">
                  <c:v>599807</c:v>
                </c:pt>
                <c:pt idx="167">
                  <c:v>603564</c:v>
                </c:pt>
                <c:pt idx="168">
                  <c:v>606811</c:v>
                </c:pt>
                <c:pt idx="169">
                  <c:v>609819</c:v>
                </c:pt>
                <c:pt idx="170">
                  <c:v>612930</c:v>
                </c:pt>
                <c:pt idx="171">
                  <c:v>614149</c:v>
                </c:pt>
                <c:pt idx="172">
                  <c:v>615017</c:v>
                </c:pt>
                <c:pt idx="173">
                  <c:v>618975</c:v>
                </c:pt>
                <c:pt idx="174">
                  <c:v>621728</c:v>
                </c:pt>
                <c:pt idx="175">
                  <c:v>624194</c:v>
                </c:pt>
                <c:pt idx="176">
                  <c:v>626499</c:v>
                </c:pt>
                <c:pt idx="177">
                  <c:v>628708</c:v>
                </c:pt>
                <c:pt idx="178">
                  <c:v>629515</c:v>
                </c:pt>
                <c:pt idx="179">
                  <c:v>630129</c:v>
                </c:pt>
                <c:pt idx="180">
                  <c:v>633002</c:v>
                </c:pt>
                <c:pt idx="181">
                  <c:v>635244</c:v>
                </c:pt>
                <c:pt idx="182">
                  <c:v>637203</c:v>
                </c:pt>
                <c:pt idx="183">
                  <c:v>639055</c:v>
                </c:pt>
                <c:pt idx="184">
                  <c:v>640821</c:v>
                </c:pt>
                <c:pt idx="185">
                  <c:v>641523</c:v>
                </c:pt>
                <c:pt idx="186">
                  <c:v>641987</c:v>
                </c:pt>
                <c:pt idx="187">
                  <c:v>644571</c:v>
                </c:pt>
                <c:pt idx="188">
                  <c:v>646531</c:v>
                </c:pt>
                <c:pt idx="189">
                  <c:v>648439</c:v>
                </c:pt>
                <c:pt idx="190">
                  <c:v>650387</c:v>
                </c:pt>
                <c:pt idx="191">
                  <c:v>652210</c:v>
                </c:pt>
                <c:pt idx="192">
                  <c:v>652852</c:v>
                </c:pt>
                <c:pt idx="193">
                  <c:v>653341</c:v>
                </c:pt>
                <c:pt idx="194">
                  <c:v>655989</c:v>
                </c:pt>
                <c:pt idx="195">
                  <c:v>658083</c:v>
                </c:pt>
                <c:pt idx="196">
                  <c:v>659964</c:v>
                </c:pt>
                <c:pt idx="197">
                  <c:v>661831</c:v>
                </c:pt>
                <c:pt idx="198">
                  <c:v>663629</c:v>
                </c:pt>
                <c:pt idx="199">
                  <c:v>664300</c:v>
                </c:pt>
                <c:pt idx="200">
                  <c:v>664811</c:v>
                </c:pt>
                <c:pt idx="201">
                  <c:v>667289</c:v>
                </c:pt>
                <c:pt idx="202">
                  <c:v>669322</c:v>
                </c:pt>
                <c:pt idx="203">
                  <c:v>671072</c:v>
                </c:pt>
                <c:pt idx="204">
                  <c:v>671582</c:v>
                </c:pt>
                <c:pt idx="205">
                  <c:v>673349</c:v>
                </c:pt>
                <c:pt idx="206">
                  <c:v>673917</c:v>
                </c:pt>
                <c:pt idx="207">
                  <c:v>674374</c:v>
                </c:pt>
                <c:pt idx="208">
                  <c:v>676626</c:v>
                </c:pt>
                <c:pt idx="209">
                  <c:v>678626</c:v>
                </c:pt>
                <c:pt idx="210">
                  <c:v>680404</c:v>
                </c:pt>
                <c:pt idx="211">
                  <c:v>682122</c:v>
                </c:pt>
                <c:pt idx="212">
                  <c:v>683783</c:v>
                </c:pt>
                <c:pt idx="213">
                  <c:v>684444</c:v>
                </c:pt>
                <c:pt idx="214">
                  <c:v>684890</c:v>
                </c:pt>
                <c:pt idx="215">
                  <c:v>687437</c:v>
                </c:pt>
                <c:pt idx="216">
                  <c:v>689372</c:v>
                </c:pt>
                <c:pt idx="217">
                  <c:v>691228</c:v>
                </c:pt>
                <c:pt idx="218">
                  <c:v>693209</c:v>
                </c:pt>
                <c:pt idx="219">
                  <c:v>695080</c:v>
                </c:pt>
                <c:pt idx="220">
                  <c:v>695728</c:v>
                </c:pt>
                <c:pt idx="221">
                  <c:v>696124</c:v>
                </c:pt>
                <c:pt idx="222">
                  <c:v>698656</c:v>
                </c:pt>
                <c:pt idx="223">
                  <c:v>700774</c:v>
                </c:pt>
                <c:pt idx="224">
                  <c:v>702794</c:v>
                </c:pt>
                <c:pt idx="225">
                  <c:v>704775</c:v>
                </c:pt>
                <c:pt idx="226">
                  <c:v>706571</c:v>
                </c:pt>
                <c:pt idx="227">
                  <c:v>707298</c:v>
                </c:pt>
                <c:pt idx="228">
                  <c:v>707773</c:v>
                </c:pt>
                <c:pt idx="229">
                  <c:v>710390</c:v>
                </c:pt>
                <c:pt idx="230">
                  <c:v>712508</c:v>
                </c:pt>
                <c:pt idx="231">
                  <c:v>714469</c:v>
                </c:pt>
                <c:pt idx="232">
                  <c:v>716433</c:v>
                </c:pt>
                <c:pt idx="233">
                  <c:v>718180</c:v>
                </c:pt>
                <c:pt idx="234">
                  <c:v>718836</c:v>
                </c:pt>
                <c:pt idx="235">
                  <c:v>719301</c:v>
                </c:pt>
                <c:pt idx="236">
                  <c:v>721699</c:v>
                </c:pt>
                <c:pt idx="237">
                  <c:v>723767</c:v>
                </c:pt>
                <c:pt idx="238">
                  <c:v>725627</c:v>
                </c:pt>
                <c:pt idx="239">
                  <c:v>727538</c:v>
                </c:pt>
                <c:pt idx="240">
                  <c:v>729195</c:v>
                </c:pt>
                <c:pt idx="241">
                  <c:v>729768</c:v>
                </c:pt>
                <c:pt idx="242">
                  <c:v>730214</c:v>
                </c:pt>
                <c:pt idx="243">
                  <c:v>732513</c:v>
                </c:pt>
                <c:pt idx="244">
                  <c:v>734533</c:v>
                </c:pt>
                <c:pt idx="245">
                  <c:v>736552</c:v>
                </c:pt>
                <c:pt idx="246">
                  <c:v>738522</c:v>
                </c:pt>
                <c:pt idx="247">
                  <c:v>740505</c:v>
                </c:pt>
                <c:pt idx="248">
                  <c:v>741292</c:v>
                </c:pt>
                <c:pt idx="249">
                  <c:v>741867</c:v>
                </c:pt>
                <c:pt idx="250">
                  <c:v>744649</c:v>
                </c:pt>
                <c:pt idx="251">
                  <c:v>747147</c:v>
                </c:pt>
                <c:pt idx="252">
                  <c:v>749714</c:v>
                </c:pt>
                <c:pt idx="253">
                  <c:v>752153</c:v>
                </c:pt>
                <c:pt idx="254">
                  <c:v>754562</c:v>
                </c:pt>
                <c:pt idx="255">
                  <c:v>755543</c:v>
                </c:pt>
                <c:pt idx="256">
                  <c:v>756236</c:v>
                </c:pt>
                <c:pt idx="257">
                  <c:v>759913</c:v>
                </c:pt>
                <c:pt idx="258">
                  <c:v>762904</c:v>
                </c:pt>
                <c:pt idx="259">
                  <c:v>765991</c:v>
                </c:pt>
                <c:pt idx="260">
                  <c:v>769110</c:v>
                </c:pt>
                <c:pt idx="261">
                  <c:v>772464</c:v>
                </c:pt>
                <c:pt idx="262">
                  <c:v>773533</c:v>
                </c:pt>
                <c:pt idx="263">
                  <c:v>774303</c:v>
                </c:pt>
                <c:pt idx="264">
                  <c:v>778894</c:v>
                </c:pt>
                <c:pt idx="265">
                  <c:v>782860</c:v>
                </c:pt>
                <c:pt idx="266">
                  <c:v>786577</c:v>
                </c:pt>
                <c:pt idx="267">
                  <c:v>790221</c:v>
                </c:pt>
                <c:pt idx="268">
                  <c:v>793515</c:v>
                </c:pt>
                <c:pt idx="269">
                  <c:v>794669</c:v>
                </c:pt>
                <c:pt idx="270">
                  <c:v>795604</c:v>
                </c:pt>
                <c:pt idx="271">
                  <c:v>801308</c:v>
                </c:pt>
                <c:pt idx="272">
                  <c:v>806337</c:v>
                </c:pt>
                <c:pt idx="273">
                  <c:v>811395</c:v>
                </c:pt>
                <c:pt idx="274">
                  <c:v>816621</c:v>
                </c:pt>
                <c:pt idx="275">
                  <c:v>821798</c:v>
                </c:pt>
                <c:pt idx="276">
                  <c:v>824122</c:v>
                </c:pt>
                <c:pt idx="277">
                  <c:v>825951</c:v>
                </c:pt>
                <c:pt idx="278">
                  <c:v>835351</c:v>
                </c:pt>
                <c:pt idx="279">
                  <c:v>843904</c:v>
                </c:pt>
                <c:pt idx="280">
                  <c:v>852933</c:v>
                </c:pt>
                <c:pt idx="281">
                  <c:v>862356</c:v>
                </c:pt>
                <c:pt idx="282">
                  <c:v>871570</c:v>
                </c:pt>
                <c:pt idx="283">
                  <c:v>875453</c:v>
                </c:pt>
                <c:pt idx="284">
                  <c:v>878374</c:v>
                </c:pt>
                <c:pt idx="285">
                  <c:v>892154</c:v>
                </c:pt>
                <c:pt idx="286">
                  <c:v>904036</c:v>
                </c:pt>
                <c:pt idx="287">
                  <c:v>908432</c:v>
                </c:pt>
                <c:pt idx="288">
                  <c:v>922785</c:v>
                </c:pt>
                <c:pt idx="289">
                  <c:v>934971</c:v>
                </c:pt>
                <c:pt idx="290">
                  <c:v>940931</c:v>
                </c:pt>
                <c:pt idx="291">
                  <c:v>945788</c:v>
                </c:pt>
                <c:pt idx="292">
                  <c:v>964859</c:v>
                </c:pt>
                <c:pt idx="293">
                  <c:v>980734</c:v>
                </c:pt>
                <c:pt idx="294">
                  <c:v>995765</c:v>
                </c:pt>
                <c:pt idx="295">
                  <c:v>1008039</c:v>
                </c:pt>
                <c:pt idx="296">
                  <c:v>1012344</c:v>
                </c:pt>
                <c:pt idx="297">
                  <c:v>1018901</c:v>
                </c:pt>
                <c:pt idx="298">
                  <c:v>1025580</c:v>
                </c:pt>
                <c:pt idx="299">
                  <c:v>1050255</c:v>
                </c:pt>
                <c:pt idx="300">
                  <c:v>1072319</c:v>
                </c:pt>
                <c:pt idx="301">
                  <c:v>1094137</c:v>
                </c:pt>
                <c:pt idx="302">
                  <c:v>1111945</c:v>
                </c:pt>
                <c:pt idx="303">
                  <c:v>1118394</c:v>
                </c:pt>
                <c:pt idx="304">
                  <c:v>1129405</c:v>
                </c:pt>
                <c:pt idx="305">
                  <c:v>1138247</c:v>
                </c:pt>
                <c:pt idx="306">
                  <c:v>1169946</c:v>
                </c:pt>
                <c:pt idx="307">
                  <c:v>1196702</c:v>
                </c:pt>
                <c:pt idx="308">
                  <c:v>1221123</c:v>
                </c:pt>
                <c:pt idx="309">
                  <c:v>1243072</c:v>
                </c:pt>
                <c:pt idx="310">
                  <c:v>1263336</c:v>
                </c:pt>
                <c:pt idx="311">
                  <c:v>1272793</c:v>
                </c:pt>
                <c:pt idx="312">
                  <c:v>1279005</c:v>
                </c:pt>
                <c:pt idx="313">
                  <c:v>1303075</c:v>
                </c:pt>
                <c:pt idx="314">
                  <c:v>1321967</c:v>
                </c:pt>
                <c:pt idx="315">
                  <c:v>1338735</c:v>
                </c:pt>
                <c:pt idx="316">
                  <c:v>1353405</c:v>
                </c:pt>
                <c:pt idx="317">
                  <c:v>1366113</c:v>
                </c:pt>
                <c:pt idx="318">
                  <c:v>1371650</c:v>
                </c:pt>
                <c:pt idx="319">
                  <c:v>1375424</c:v>
                </c:pt>
                <c:pt idx="320">
                  <c:v>1390408</c:v>
                </c:pt>
                <c:pt idx="321">
                  <c:v>1401501</c:v>
                </c:pt>
                <c:pt idx="322">
                  <c:v>1410980</c:v>
                </c:pt>
                <c:pt idx="323">
                  <c:v>1419639</c:v>
                </c:pt>
                <c:pt idx="324">
                  <c:v>1427209</c:v>
                </c:pt>
                <c:pt idx="325">
                  <c:v>1430444</c:v>
                </c:pt>
                <c:pt idx="326">
                  <c:v>1432459</c:v>
                </c:pt>
                <c:pt idx="327">
                  <c:v>1440078</c:v>
                </c:pt>
                <c:pt idx="328">
                  <c:v>1446561</c:v>
                </c:pt>
                <c:pt idx="329">
                  <c:v>1451892</c:v>
                </c:pt>
                <c:pt idx="330">
                  <c:v>1456192</c:v>
                </c:pt>
                <c:pt idx="331">
                  <c:v>1460141</c:v>
                </c:pt>
                <c:pt idx="332">
                  <c:v>1461986</c:v>
                </c:pt>
                <c:pt idx="333">
                  <c:v>1463408</c:v>
                </c:pt>
                <c:pt idx="334">
                  <c:v>1468498</c:v>
                </c:pt>
                <c:pt idx="335">
                  <c:v>1472186</c:v>
                </c:pt>
                <c:pt idx="336">
                  <c:v>1475483</c:v>
                </c:pt>
                <c:pt idx="337">
                  <c:v>1478435</c:v>
                </c:pt>
                <c:pt idx="338">
                  <c:v>1481208</c:v>
                </c:pt>
                <c:pt idx="339">
                  <c:v>1482457</c:v>
                </c:pt>
                <c:pt idx="340">
                  <c:v>1483475</c:v>
                </c:pt>
                <c:pt idx="341">
                  <c:v>1487067</c:v>
                </c:pt>
                <c:pt idx="342">
                  <c:v>1489741</c:v>
                </c:pt>
                <c:pt idx="343">
                  <c:v>1492228</c:v>
                </c:pt>
                <c:pt idx="344">
                  <c:v>1494449</c:v>
                </c:pt>
                <c:pt idx="345">
                  <c:v>1496432</c:v>
                </c:pt>
                <c:pt idx="346">
                  <c:v>1497304</c:v>
                </c:pt>
                <c:pt idx="347">
                  <c:v>1498031</c:v>
                </c:pt>
                <c:pt idx="348">
                  <c:v>1500476</c:v>
                </c:pt>
                <c:pt idx="349">
                  <c:v>1502406</c:v>
                </c:pt>
                <c:pt idx="350">
                  <c:v>1504153</c:v>
                </c:pt>
                <c:pt idx="351">
                  <c:v>1505843</c:v>
                </c:pt>
                <c:pt idx="352">
                  <c:v>1507487</c:v>
                </c:pt>
                <c:pt idx="353">
                  <c:v>1508211</c:v>
                </c:pt>
                <c:pt idx="354">
                  <c:v>1508817</c:v>
                </c:pt>
                <c:pt idx="355">
                  <c:v>1510937</c:v>
                </c:pt>
                <c:pt idx="356">
                  <c:v>1512630</c:v>
                </c:pt>
                <c:pt idx="357">
                  <c:v>1514228</c:v>
                </c:pt>
                <c:pt idx="358">
                  <c:v>1515630</c:v>
                </c:pt>
                <c:pt idx="359">
                  <c:v>1516892</c:v>
                </c:pt>
                <c:pt idx="360">
                  <c:v>1517526</c:v>
                </c:pt>
                <c:pt idx="361">
                  <c:v>1517912</c:v>
                </c:pt>
                <c:pt idx="362">
                  <c:v>1519665</c:v>
                </c:pt>
                <c:pt idx="363">
                  <c:v>1521146</c:v>
                </c:pt>
                <c:pt idx="364">
                  <c:v>1522382</c:v>
                </c:pt>
                <c:pt idx="365">
                  <c:v>1523603</c:v>
                </c:pt>
                <c:pt idx="366">
                  <c:v>1524802</c:v>
                </c:pt>
                <c:pt idx="367">
                  <c:v>1525328</c:v>
                </c:pt>
                <c:pt idx="368">
                  <c:v>1525763</c:v>
                </c:pt>
                <c:pt idx="369">
                  <c:v>1527499</c:v>
                </c:pt>
                <c:pt idx="370">
                  <c:v>1528843</c:v>
                </c:pt>
                <c:pt idx="371">
                  <c:v>1530076</c:v>
                </c:pt>
                <c:pt idx="372">
                  <c:v>1531337</c:v>
                </c:pt>
                <c:pt idx="373">
                  <c:v>1532429</c:v>
                </c:pt>
                <c:pt idx="374">
                  <c:v>1532903</c:v>
                </c:pt>
                <c:pt idx="375">
                  <c:v>1533280</c:v>
                </c:pt>
                <c:pt idx="376">
                  <c:v>1534928</c:v>
                </c:pt>
                <c:pt idx="377">
                  <c:v>1536257</c:v>
                </c:pt>
                <c:pt idx="378">
                  <c:v>1537556</c:v>
                </c:pt>
                <c:pt idx="379">
                  <c:v>1538698</c:v>
                </c:pt>
                <c:pt idx="380">
                  <c:v>1539817</c:v>
                </c:pt>
                <c:pt idx="381">
                  <c:v>1540289</c:v>
                </c:pt>
                <c:pt idx="382">
                  <c:v>1540681</c:v>
                </c:pt>
                <c:pt idx="383">
                  <c:v>1541185</c:v>
                </c:pt>
                <c:pt idx="384">
                  <c:v>1542904</c:v>
                </c:pt>
                <c:pt idx="385">
                  <c:v>1544168</c:v>
                </c:pt>
                <c:pt idx="386">
                  <c:v>1545318</c:v>
                </c:pt>
                <c:pt idx="387">
                  <c:v>1546481</c:v>
                </c:pt>
                <c:pt idx="388">
                  <c:v>1546999</c:v>
                </c:pt>
                <c:pt idx="389">
                  <c:v>1547411</c:v>
                </c:pt>
                <c:pt idx="390">
                  <c:v>1549108</c:v>
                </c:pt>
                <c:pt idx="391">
                  <c:v>1550418</c:v>
                </c:pt>
                <c:pt idx="392">
                  <c:v>1551588</c:v>
                </c:pt>
                <c:pt idx="393">
                  <c:v>1552542</c:v>
                </c:pt>
                <c:pt idx="394">
                  <c:v>1552921</c:v>
                </c:pt>
                <c:pt idx="395">
                  <c:v>1553457</c:v>
                </c:pt>
                <c:pt idx="396">
                  <c:v>1553819</c:v>
                </c:pt>
                <c:pt idx="397">
                  <c:v>1554312</c:v>
                </c:pt>
                <c:pt idx="398">
                  <c:v>1555953</c:v>
                </c:pt>
                <c:pt idx="399">
                  <c:v>1557284</c:v>
                </c:pt>
                <c:pt idx="400">
                  <c:v>1558477</c:v>
                </c:pt>
                <c:pt idx="401">
                  <c:v>1559644</c:v>
                </c:pt>
                <c:pt idx="402">
                  <c:v>1560153</c:v>
                </c:pt>
                <c:pt idx="403">
                  <c:v>1560599</c:v>
                </c:pt>
                <c:pt idx="404">
                  <c:v>1562455</c:v>
                </c:pt>
                <c:pt idx="405">
                  <c:v>1563859</c:v>
                </c:pt>
                <c:pt idx="406">
                  <c:v>1565215</c:v>
                </c:pt>
                <c:pt idx="407">
                  <c:v>1566696</c:v>
                </c:pt>
                <c:pt idx="408">
                  <c:v>1568006</c:v>
                </c:pt>
                <c:pt idx="409">
                  <c:v>1568610</c:v>
                </c:pt>
                <c:pt idx="410">
                  <c:v>1569086</c:v>
                </c:pt>
                <c:pt idx="411">
                  <c:v>1570996</c:v>
                </c:pt>
                <c:pt idx="412">
                  <c:v>1572571</c:v>
                </c:pt>
                <c:pt idx="413">
                  <c:v>1574111</c:v>
                </c:pt>
                <c:pt idx="414">
                  <c:v>1575504</c:v>
                </c:pt>
                <c:pt idx="415">
                  <c:v>1576780</c:v>
                </c:pt>
                <c:pt idx="416">
                  <c:v>1577370</c:v>
                </c:pt>
                <c:pt idx="417">
                  <c:v>1577865</c:v>
                </c:pt>
                <c:pt idx="418">
                  <c:v>1579736</c:v>
                </c:pt>
                <c:pt idx="419">
                  <c:v>1580280</c:v>
                </c:pt>
                <c:pt idx="420">
                  <c:v>1582243</c:v>
                </c:pt>
                <c:pt idx="421">
                  <c:v>1583948</c:v>
                </c:pt>
                <c:pt idx="422">
                  <c:v>1585395</c:v>
                </c:pt>
                <c:pt idx="423">
                  <c:v>1586071</c:v>
                </c:pt>
                <c:pt idx="424">
                  <c:v>1586675</c:v>
                </c:pt>
                <c:pt idx="425">
                  <c:v>1589176</c:v>
                </c:pt>
                <c:pt idx="426">
                  <c:v>1591291</c:v>
                </c:pt>
                <c:pt idx="427">
                  <c:v>1593494</c:v>
                </c:pt>
                <c:pt idx="428">
                  <c:v>1595826</c:v>
                </c:pt>
                <c:pt idx="429">
                  <c:v>1598033</c:v>
                </c:pt>
                <c:pt idx="430">
                  <c:v>1599015</c:v>
                </c:pt>
                <c:pt idx="431">
                  <c:v>1599816</c:v>
                </c:pt>
                <c:pt idx="432">
                  <c:v>1603293</c:v>
                </c:pt>
                <c:pt idx="433">
                  <c:v>1606786</c:v>
                </c:pt>
                <c:pt idx="434">
                  <c:v>1610142</c:v>
                </c:pt>
                <c:pt idx="435">
                  <c:v>1613150</c:v>
                </c:pt>
                <c:pt idx="436">
                  <c:v>1616022</c:v>
                </c:pt>
                <c:pt idx="437">
                  <c:v>1617420</c:v>
                </c:pt>
                <c:pt idx="438">
                  <c:v>1618519</c:v>
                </c:pt>
                <c:pt idx="439">
                  <c:v>1622825</c:v>
                </c:pt>
                <c:pt idx="440">
                  <c:v>1626734</c:v>
                </c:pt>
                <c:pt idx="441">
                  <c:v>1630575</c:v>
                </c:pt>
                <c:pt idx="442">
                  <c:v>1634666</c:v>
                </c:pt>
                <c:pt idx="443">
                  <c:v>1638227</c:v>
                </c:pt>
                <c:pt idx="444">
                  <c:v>1639991</c:v>
                </c:pt>
                <c:pt idx="445">
                  <c:v>1641284</c:v>
                </c:pt>
                <c:pt idx="446">
                  <c:v>1646971</c:v>
                </c:pt>
                <c:pt idx="447">
                  <c:v>1651824</c:v>
                </c:pt>
                <c:pt idx="448">
                  <c:v>1656753</c:v>
                </c:pt>
                <c:pt idx="449">
                  <c:v>1661701</c:v>
                </c:pt>
                <c:pt idx="450">
                  <c:v>1666090</c:v>
                </c:pt>
                <c:pt idx="451">
                  <c:v>1668291</c:v>
                </c:pt>
                <c:pt idx="452">
                  <c:v>1669895</c:v>
                </c:pt>
                <c:pt idx="453">
                  <c:v>1676642</c:v>
                </c:pt>
                <c:pt idx="454">
                  <c:v>1682159</c:v>
                </c:pt>
                <c:pt idx="455">
                  <c:v>1687828</c:v>
                </c:pt>
                <c:pt idx="456">
                  <c:v>1693509</c:v>
                </c:pt>
                <c:pt idx="457">
                  <c:v>1699192</c:v>
                </c:pt>
                <c:pt idx="458">
                  <c:v>1702072</c:v>
                </c:pt>
                <c:pt idx="459">
                  <c:v>1704195</c:v>
                </c:pt>
                <c:pt idx="460">
                  <c:v>1714093</c:v>
                </c:pt>
                <c:pt idx="461">
                  <c:v>1723912</c:v>
                </c:pt>
                <c:pt idx="462">
                  <c:v>1732853</c:v>
                </c:pt>
                <c:pt idx="463">
                  <c:v>1742608</c:v>
                </c:pt>
                <c:pt idx="464">
                  <c:v>1752231</c:v>
                </c:pt>
                <c:pt idx="465">
                  <c:v>1757656</c:v>
                </c:pt>
                <c:pt idx="466">
                  <c:v>1761224</c:v>
                </c:pt>
                <c:pt idx="467">
                  <c:v>1777527</c:v>
                </c:pt>
                <c:pt idx="468">
                  <c:v>1792231</c:v>
                </c:pt>
                <c:pt idx="469">
                  <c:v>1798148</c:v>
                </c:pt>
                <c:pt idx="470">
                  <c:v>1816266</c:v>
                </c:pt>
                <c:pt idx="471">
                  <c:v>1833094</c:v>
                </c:pt>
                <c:pt idx="472">
                  <c:v>1840558</c:v>
                </c:pt>
                <c:pt idx="473">
                  <c:v>1845475</c:v>
                </c:pt>
                <c:pt idx="474">
                  <c:v>1868792</c:v>
                </c:pt>
                <c:pt idx="475">
                  <c:v>1888804</c:v>
                </c:pt>
                <c:pt idx="476">
                  <c:v>1907573</c:v>
                </c:pt>
                <c:pt idx="477">
                  <c:v>1926533</c:v>
                </c:pt>
                <c:pt idx="478">
                  <c:v>1944374</c:v>
                </c:pt>
                <c:pt idx="479">
                  <c:v>1952634</c:v>
                </c:pt>
                <c:pt idx="480">
                  <c:v>1958194</c:v>
                </c:pt>
                <c:pt idx="481">
                  <c:v>1984822</c:v>
                </c:pt>
                <c:pt idx="482">
                  <c:v>2007588</c:v>
                </c:pt>
                <c:pt idx="483">
                  <c:v>2032083</c:v>
                </c:pt>
                <c:pt idx="484">
                  <c:v>2059166</c:v>
                </c:pt>
                <c:pt idx="485">
                  <c:v>2080528</c:v>
                </c:pt>
                <c:pt idx="486">
                  <c:v>2090279</c:v>
                </c:pt>
                <c:pt idx="487">
                  <c:v>2096281</c:v>
                </c:pt>
                <c:pt idx="488">
                  <c:v>2126265</c:v>
                </c:pt>
                <c:pt idx="489">
                  <c:v>2149266</c:v>
                </c:pt>
                <c:pt idx="490">
                  <c:v>2172929</c:v>
                </c:pt>
                <c:pt idx="491">
                  <c:v>2194156</c:v>
                </c:pt>
                <c:pt idx="492">
                  <c:v>2213286</c:v>
                </c:pt>
                <c:pt idx="493">
                  <c:v>2222308</c:v>
                </c:pt>
                <c:pt idx="494">
                  <c:v>2227905</c:v>
                </c:pt>
                <c:pt idx="495">
                  <c:v>2250517</c:v>
                </c:pt>
                <c:pt idx="496">
                  <c:v>2267371</c:v>
                </c:pt>
                <c:pt idx="497">
                  <c:v>2282322</c:v>
                </c:pt>
                <c:pt idx="498">
                  <c:v>2296419</c:v>
                </c:pt>
                <c:pt idx="499">
                  <c:v>2310091</c:v>
                </c:pt>
                <c:pt idx="500">
                  <c:v>2316027</c:v>
                </c:pt>
                <c:pt idx="501">
                  <c:v>2320103</c:v>
                </c:pt>
                <c:pt idx="502">
                  <c:v>2340584</c:v>
                </c:pt>
                <c:pt idx="503">
                  <c:v>2355793</c:v>
                </c:pt>
                <c:pt idx="504">
                  <c:v>2369466</c:v>
                </c:pt>
                <c:pt idx="505">
                  <c:v>2381578</c:v>
                </c:pt>
                <c:pt idx="506">
                  <c:v>2392698</c:v>
                </c:pt>
                <c:pt idx="507">
                  <c:v>2397823</c:v>
                </c:pt>
                <c:pt idx="508">
                  <c:v>2401445</c:v>
                </c:pt>
                <c:pt idx="509">
                  <c:v>2422338</c:v>
                </c:pt>
                <c:pt idx="510">
                  <c:v>2436714</c:v>
                </c:pt>
                <c:pt idx="511">
                  <c:v>2450008</c:v>
                </c:pt>
                <c:pt idx="512">
                  <c:v>2462527</c:v>
                </c:pt>
                <c:pt idx="513">
                  <c:v>2474215</c:v>
                </c:pt>
                <c:pt idx="514">
                  <c:v>2479484</c:v>
                </c:pt>
                <c:pt idx="515">
                  <c:v>2482970</c:v>
                </c:pt>
                <c:pt idx="516">
                  <c:v>2500404</c:v>
                </c:pt>
                <c:pt idx="517">
                  <c:v>2515411</c:v>
                </c:pt>
                <c:pt idx="518">
                  <c:v>2529785</c:v>
                </c:pt>
                <c:pt idx="519">
                  <c:v>2543419</c:v>
                </c:pt>
                <c:pt idx="520">
                  <c:v>2555999</c:v>
                </c:pt>
                <c:pt idx="521">
                  <c:v>2561197</c:v>
                </c:pt>
                <c:pt idx="522">
                  <c:v>2564815</c:v>
                </c:pt>
                <c:pt idx="523">
                  <c:v>2569443</c:v>
                </c:pt>
                <c:pt idx="524">
                  <c:v>2588803</c:v>
                </c:pt>
                <c:pt idx="525">
                  <c:v>2605446</c:v>
                </c:pt>
                <c:pt idx="526">
                  <c:v>2620776</c:v>
                </c:pt>
                <c:pt idx="527">
                  <c:v>2633770</c:v>
                </c:pt>
                <c:pt idx="528">
                  <c:v>2638894</c:v>
                </c:pt>
                <c:pt idx="529">
                  <c:v>2642399</c:v>
                </c:pt>
                <c:pt idx="530">
                  <c:v>2661571</c:v>
                </c:pt>
                <c:pt idx="531">
                  <c:v>2678335</c:v>
                </c:pt>
                <c:pt idx="532">
                  <c:v>2694395</c:v>
                </c:pt>
                <c:pt idx="533">
                  <c:v>2709152</c:v>
                </c:pt>
                <c:pt idx="534">
                  <c:v>2722101</c:v>
                </c:pt>
                <c:pt idx="535">
                  <c:v>2727138</c:v>
                </c:pt>
                <c:pt idx="536">
                  <c:v>2730363</c:v>
                </c:pt>
                <c:pt idx="537">
                  <c:v>2747414</c:v>
                </c:pt>
                <c:pt idx="538">
                  <c:v>2762100</c:v>
                </c:pt>
                <c:pt idx="539">
                  <c:v>2774994</c:v>
                </c:pt>
                <c:pt idx="540">
                  <c:v>2786568</c:v>
                </c:pt>
                <c:pt idx="541">
                  <c:v>2796294</c:v>
                </c:pt>
                <c:pt idx="542">
                  <c:v>2799660</c:v>
                </c:pt>
                <c:pt idx="543">
                  <c:v>2802058</c:v>
                </c:pt>
                <c:pt idx="544">
                  <c:v>2814110</c:v>
                </c:pt>
                <c:pt idx="545">
                  <c:v>2823777</c:v>
                </c:pt>
                <c:pt idx="546">
                  <c:v>2832534</c:v>
                </c:pt>
                <c:pt idx="547">
                  <c:v>2840560</c:v>
                </c:pt>
                <c:pt idx="548">
                  <c:v>2847320</c:v>
                </c:pt>
                <c:pt idx="549">
                  <c:v>2850115</c:v>
                </c:pt>
                <c:pt idx="550">
                  <c:v>2852156</c:v>
                </c:pt>
                <c:pt idx="551">
                  <c:v>2860723</c:v>
                </c:pt>
                <c:pt idx="552">
                  <c:v>2866936</c:v>
                </c:pt>
                <c:pt idx="553">
                  <c:v>2872764</c:v>
                </c:pt>
                <c:pt idx="554">
                  <c:v>2878121</c:v>
                </c:pt>
                <c:pt idx="555">
                  <c:v>2882853</c:v>
                </c:pt>
                <c:pt idx="556">
                  <c:v>2884822</c:v>
                </c:pt>
                <c:pt idx="557">
                  <c:v>2886113</c:v>
                </c:pt>
                <c:pt idx="558">
                  <c:v>2891806</c:v>
                </c:pt>
                <c:pt idx="559">
                  <c:v>2896282</c:v>
                </c:pt>
                <c:pt idx="560">
                  <c:v>2899977</c:v>
                </c:pt>
                <c:pt idx="561">
                  <c:v>2902994</c:v>
                </c:pt>
                <c:pt idx="562">
                  <c:v>2905435</c:v>
                </c:pt>
                <c:pt idx="563">
                  <c:v>2906504</c:v>
                </c:pt>
                <c:pt idx="564">
                  <c:v>2907262</c:v>
                </c:pt>
                <c:pt idx="565">
                  <c:v>2910907</c:v>
                </c:pt>
                <c:pt idx="566">
                  <c:v>2913528</c:v>
                </c:pt>
                <c:pt idx="567">
                  <c:v>2915756</c:v>
                </c:pt>
                <c:pt idx="568">
                  <c:v>2917695</c:v>
                </c:pt>
                <c:pt idx="569">
                  <c:v>2918343</c:v>
                </c:pt>
                <c:pt idx="570">
                  <c:v>2919015</c:v>
                </c:pt>
                <c:pt idx="571">
                  <c:v>2919573</c:v>
                </c:pt>
                <c:pt idx="572">
                  <c:v>2921889</c:v>
                </c:pt>
                <c:pt idx="573">
                  <c:v>2923589</c:v>
                </c:pt>
                <c:pt idx="574">
                  <c:v>2925089</c:v>
                </c:pt>
                <c:pt idx="575">
                  <c:v>2926271</c:v>
                </c:pt>
                <c:pt idx="576">
                  <c:v>2927341</c:v>
                </c:pt>
                <c:pt idx="577">
                  <c:v>2927818</c:v>
                </c:pt>
                <c:pt idx="578">
                  <c:v>2928204</c:v>
                </c:pt>
                <c:pt idx="579">
                  <c:v>2929562</c:v>
                </c:pt>
                <c:pt idx="580">
                  <c:v>2930522</c:v>
                </c:pt>
                <c:pt idx="581">
                  <c:v>2931467</c:v>
                </c:pt>
                <c:pt idx="582">
                  <c:v>2932320</c:v>
                </c:pt>
                <c:pt idx="583">
                  <c:v>2933038</c:v>
                </c:pt>
                <c:pt idx="584">
                  <c:v>2933401</c:v>
                </c:pt>
                <c:pt idx="585">
                  <c:v>2933649</c:v>
                </c:pt>
                <c:pt idx="586">
                  <c:v>2934734</c:v>
                </c:pt>
                <c:pt idx="587">
                  <c:v>2935559</c:v>
                </c:pt>
                <c:pt idx="588">
                  <c:v>2936296</c:v>
                </c:pt>
                <c:pt idx="589">
                  <c:v>2936949</c:v>
                </c:pt>
                <c:pt idx="590">
                  <c:v>2937508</c:v>
                </c:pt>
                <c:pt idx="591">
                  <c:v>2937755</c:v>
                </c:pt>
                <c:pt idx="592">
                  <c:v>2937943</c:v>
                </c:pt>
                <c:pt idx="593">
                  <c:v>2938621</c:v>
                </c:pt>
                <c:pt idx="594">
                  <c:v>2939134</c:v>
                </c:pt>
                <c:pt idx="595">
                  <c:v>2939646</c:v>
                </c:pt>
                <c:pt idx="596">
                  <c:v>2940084</c:v>
                </c:pt>
                <c:pt idx="597">
                  <c:v>2940458</c:v>
                </c:pt>
                <c:pt idx="598">
                  <c:v>2940623</c:v>
                </c:pt>
                <c:pt idx="599">
                  <c:v>2940789</c:v>
                </c:pt>
                <c:pt idx="600">
                  <c:v>2941258</c:v>
                </c:pt>
                <c:pt idx="601">
                  <c:v>2941688</c:v>
                </c:pt>
                <c:pt idx="602">
                  <c:v>2942013</c:v>
                </c:pt>
                <c:pt idx="603">
                  <c:v>2942340</c:v>
                </c:pt>
                <c:pt idx="604">
                  <c:v>2942580</c:v>
                </c:pt>
                <c:pt idx="605">
                  <c:v>2942708</c:v>
                </c:pt>
                <c:pt idx="606">
                  <c:v>2942828</c:v>
                </c:pt>
                <c:pt idx="607">
                  <c:v>2943002</c:v>
                </c:pt>
                <c:pt idx="608">
                  <c:v>2943421</c:v>
                </c:pt>
                <c:pt idx="609">
                  <c:v>2943756</c:v>
                </c:pt>
                <c:pt idx="610">
                  <c:v>2944052</c:v>
                </c:pt>
                <c:pt idx="611">
                  <c:v>2944309</c:v>
                </c:pt>
                <c:pt idx="612">
                  <c:v>2944446</c:v>
                </c:pt>
                <c:pt idx="613">
                  <c:v>2944564</c:v>
                </c:pt>
                <c:pt idx="614">
                  <c:v>2944932</c:v>
                </c:pt>
                <c:pt idx="615">
                  <c:v>2945244</c:v>
                </c:pt>
                <c:pt idx="616">
                  <c:v>2945572</c:v>
                </c:pt>
                <c:pt idx="617">
                  <c:v>2945917</c:v>
                </c:pt>
                <c:pt idx="618">
                  <c:v>2946241</c:v>
                </c:pt>
                <c:pt idx="619">
                  <c:v>2946380</c:v>
                </c:pt>
                <c:pt idx="620">
                  <c:v>2946526</c:v>
                </c:pt>
                <c:pt idx="621">
                  <c:v>2947035</c:v>
                </c:pt>
                <c:pt idx="622">
                  <c:v>2947587</c:v>
                </c:pt>
                <c:pt idx="623">
                  <c:v>2948351</c:v>
                </c:pt>
                <c:pt idx="624">
                  <c:v>2949172</c:v>
                </c:pt>
                <c:pt idx="625">
                  <c:v>2950023</c:v>
                </c:pt>
                <c:pt idx="626">
                  <c:v>2950457</c:v>
                </c:pt>
                <c:pt idx="627">
                  <c:v>2950829</c:v>
                </c:pt>
                <c:pt idx="628">
                  <c:v>2952535</c:v>
                </c:pt>
                <c:pt idx="629">
                  <c:v>2954854</c:v>
                </c:pt>
                <c:pt idx="630">
                  <c:v>2958016</c:v>
                </c:pt>
                <c:pt idx="631">
                  <c:v>2961523</c:v>
                </c:pt>
                <c:pt idx="632">
                  <c:v>2965206</c:v>
                </c:pt>
                <c:pt idx="633">
                  <c:v>2967188</c:v>
                </c:pt>
                <c:pt idx="634">
                  <c:v>2968992</c:v>
                </c:pt>
                <c:pt idx="635">
                  <c:v>2978815</c:v>
                </c:pt>
                <c:pt idx="636">
                  <c:v>2991685</c:v>
                </c:pt>
                <c:pt idx="637">
                  <c:v>3008391</c:v>
                </c:pt>
                <c:pt idx="638">
                  <c:v>3026582</c:v>
                </c:pt>
                <c:pt idx="639">
                  <c:v>3044619</c:v>
                </c:pt>
                <c:pt idx="640">
                  <c:v>3052780</c:v>
                </c:pt>
                <c:pt idx="641">
                  <c:v>3058008</c:v>
                </c:pt>
                <c:pt idx="642">
                  <c:v>3083728</c:v>
                </c:pt>
                <c:pt idx="643">
                  <c:v>3110043</c:v>
                </c:pt>
                <c:pt idx="644">
                  <c:v>3138360</c:v>
                </c:pt>
                <c:pt idx="645">
                  <c:v>3165889</c:v>
                </c:pt>
                <c:pt idx="646">
                  <c:v>3190723</c:v>
                </c:pt>
                <c:pt idx="647">
                  <c:v>3201675</c:v>
                </c:pt>
                <c:pt idx="648">
                  <c:v>3209489</c:v>
                </c:pt>
                <c:pt idx="649">
                  <c:v>3241040</c:v>
                </c:pt>
                <c:pt idx="650">
                  <c:v>3268375</c:v>
                </c:pt>
                <c:pt idx="651">
                  <c:v>3294159</c:v>
                </c:pt>
                <c:pt idx="652">
                  <c:v>3302833</c:v>
                </c:pt>
                <c:pt idx="653">
                  <c:v>3323906</c:v>
                </c:pt>
                <c:pt idx="654">
                  <c:v>3333448</c:v>
                </c:pt>
                <c:pt idx="655">
                  <c:v>3340269</c:v>
                </c:pt>
                <c:pt idx="656">
                  <c:v>3363996</c:v>
                </c:pt>
                <c:pt idx="657">
                  <c:v>3384754</c:v>
                </c:pt>
                <c:pt idx="658">
                  <c:v>3403664</c:v>
                </c:pt>
                <c:pt idx="659">
                  <c:v>3418917</c:v>
                </c:pt>
                <c:pt idx="660">
                  <c:v>3429568</c:v>
                </c:pt>
                <c:pt idx="661">
                  <c:v>3432937</c:v>
                </c:pt>
                <c:pt idx="662">
                  <c:v>3437193</c:v>
                </c:pt>
                <c:pt idx="663">
                  <c:v>3443207</c:v>
                </c:pt>
                <c:pt idx="664">
                  <c:v>3456836</c:v>
                </c:pt>
                <c:pt idx="665">
                  <c:v>3468480</c:v>
                </c:pt>
                <c:pt idx="666">
                  <c:v>3478795</c:v>
                </c:pt>
                <c:pt idx="667">
                  <c:v>3486422</c:v>
                </c:pt>
                <c:pt idx="668">
                  <c:v>3489198</c:v>
                </c:pt>
                <c:pt idx="669">
                  <c:v>3492874</c:v>
                </c:pt>
                <c:pt idx="670">
                  <c:v>3504743</c:v>
                </c:pt>
                <c:pt idx="671">
                  <c:v>3514662</c:v>
                </c:pt>
                <c:pt idx="672">
                  <c:v>3523584</c:v>
                </c:pt>
                <c:pt idx="673">
                  <c:v>3531152</c:v>
                </c:pt>
                <c:pt idx="674">
                  <c:v>3537735</c:v>
                </c:pt>
                <c:pt idx="675">
                  <c:v>3540840</c:v>
                </c:pt>
                <c:pt idx="676">
                  <c:v>3543084</c:v>
                </c:pt>
                <c:pt idx="677">
                  <c:v>3550365</c:v>
                </c:pt>
                <c:pt idx="678">
                  <c:v>3555704</c:v>
                </c:pt>
                <c:pt idx="679">
                  <c:v>3560403</c:v>
                </c:pt>
                <c:pt idx="680">
                  <c:v>3564545</c:v>
                </c:pt>
                <c:pt idx="681">
                  <c:v>3568154</c:v>
                </c:pt>
                <c:pt idx="682">
                  <c:v>3570037</c:v>
                </c:pt>
                <c:pt idx="683">
                  <c:v>3571518</c:v>
                </c:pt>
                <c:pt idx="684">
                  <c:v>3576035</c:v>
                </c:pt>
                <c:pt idx="685">
                  <c:v>3579588</c:v>
                </c:pt>
                <c:pt idx="686">
                  <c:v>3582832</c:v>
                </c:pt>
                <c:pt idx="687">
                  <c:v>3585868</c:v>
                </c:pt>
                <c:pt idx="688">
                  <c:v>3588658</c:v>
                </c:pt>
                <c:pt idx="689">
                  <c:v>3590166</c:v>
                </c:pt>
                <c:pt idx="690">
                  <c:v>3591524</c:v>
                </c:pt>
                <c:pt idx="691">
                  <c:v>3596270</c:v>
                </c:pt>
                <c:pt idx="692">
                  <c:v>3600319</c:v>
                </c:pt>
                <c:pt idx="693">
                  <c:v>3603961</c:v>
                </c:pt>
                <c:pt idx="694">
                  <c:v>3607364</c:v>
                </c:pt>
                <c:pt idx="695">
                  <c:v>3610317</c:v>
                </c:pt>
                <c:pt idx="696">
                  <c:v>3611976</c:v>
                </c:pt>
                <c:pt idx="697">
                  <c:v>3613228</c:v>
                </c:pt>
                <c:pt idx="698">
                  <c:v>3618339</c:v>
                </c:pt>
                <c:pt idx="699">
                  <c:v>3621918</c:v>
                </c:pt>
                <c:pt idx="700">
                  <c:v>3625153</c:v>
                </c:pt>
                <c:pt idx="701">
                  <c:v>3628065</c:v>
                </c:pt>
                <c:pt idx="702">
                  <c:v>3630539</c:v>
                </c:pt>
                <c:pt idx="703">
                  <c:v>3631862</c:v>
                </c:pt>
                <c:pt idx="704">
                  <c:v>3632975</c:v>
                </c:pt>
                <c:pt idx="705">
                  <c:v>3636985</c:v>
                </c:pt>
                <c:pt idx="706">
                  <c:v>3639990</c:v>
                </c:pt>
                <c:pt idx="707">
                  <c:v>3642912</c:v>
                </c:pt>
                <c:pt idx="708">
                  <c:v>3645500</c:v>
                </c:pt>
                <c:pt idx="709">
                  <c:v>3647794</c:v>
                </c:pt>
                <c:pt idx="710">
                  <c:v>3649053</c:v>
                </c:pt>
                <c:pt idx="711">
                  <c:v>3650144</c:v>
                </c:pt>
                <c:pt idx="712">
                  <c:v>3653808</c:v>
                </c:pt>
                <c:pt idx="713">
                  <c:v>3656816</c:v>
                </c:pt>
                <c:pt idx="714">
                  <c:v>3659574</c:v>
                </c:pt>
                <c:pt idx="715">
                  <c:v>3662062</c:v>
                </c:pt>
                <c:pt idx="716">
                  <c:v>3664174</c:v>
                </c:pt>
                <c:pt idx="717">
                  <c:v>3665231</c:v>
                </c:pt>
                <c:pt idx="718">
                  <c:v>3666148</c:v>
                </c:pt>
                <c:pt idx="719">
                  <c:v>3669492</c:v>
                </c:pt>
                <c:pt idx="720">
                  <c:v>3671940</c:v>
                </c:pt>
                <c:pt idx="721">
                  <c:v>3674324</c:v>
                </c:pt>
                <c:pt idx="722">
                  <c:v>3676394</c:v>
                </c:pt>
                <c:pt idx="723">
                  <c:v>3678069</c:v>
                </c:pt>
                <c:pt idx="724">
                  <c:v>3678985</c:v>
                </c:pt>
                <c:pt idx="725">
                  <c:v>3679652</c:v>
                </c:pt>
                <c:pt idx="726">
                  <c:v>3682024</c:v>
                </c:pt>
                <c:pt idx="727">
                  <c:v>3683908</c:v>
                </c:pt>
                <c:pt idx="728">
                  <c:v>3685915</c:v>
                </c:pt>
                <c:pt idx="729">
                  <c:v>3687699</c:v>
                </c:pt>
                <c:pt idx="730">
                  <c:v>3689188</c:v>
                </c:pt>
                <c:pt idx="731">
                  <c:v>3690054</c:v>
                </c:pt>
                <c:pt idx="732">
                  <c:v>3690670</c:v>
                </c:pt>
                <c:pt idx="733">
                  <c:v>3692923</c:v>
                </c:pt>
                <c:pt idx="734">
                  <c:v>3694591</c:v>
                </c:pt>
                <c:pt idx="735">
                  <c:v>3696216</c:v>
                </c:pt>
                <c:pt idx="736">
                  <c:v>3697725</c:v>
                </c:pt>
                <c:pt idx="737">
                  <c:v>3699109</c:v>
                </c:pt>
                <c:pt idx="738">
                  <c:v>3699865</c:v>
                </c:pt>
                <c:pt idx="739">
                  <c:v>3700531</c:v>
                </c:pt>
                <c:pt idx="740">
                  <c:v>3702623</c:v>
                </c:pt>
                <c:pt idx="741">
                  <c:v>3704209</c:v>
                </c:pt>
                <c:pt idx="742">
                  <c:v>3705764</c:v>
                </c:pt>
                <c:pt idx="743">
                  <c:v>3707137</c:v>
                </c:pt>
                <c:pt idx="744">
                  <c:v>3708329</c:v>
                </c:pt>
                <c:pt idx="745">
                  <c:v>3708993</c:v>
                </c:pt>
                <c:pt idx="746">
                  <c:v>3709575</c:v>
                </c:pt>
                <c:pt idx="747">
                  <c:v>3710392</c:v>
                </c:pt>
                <c:pt idx="748">
                  <c:v>3712524</c:v>
                </c:pt>
                <c:pt idx="749">
                  <c:v>3714266</c:v>
                </c:pt>
                <c:pt idx="750">
                  <c:v>3715678</c:v>
                </c:pt>
                <c:pt idx="751">
                  <c:v>3717006</c:v>
                </c:pt>
                <c:pt idx="752">
                  <c:v>3717761</c:v>
                </c:pt>
                <c:pt idx="753">
                  <c:v>3718320</c:v>
                </c:pt>
                <c:pt idx="754">
                  <c:v>3720311</c:v>
                </c:pt>
                <c:pt idx="755">
                  <c:v>3721854</c:v>
                </c:pt>
                <c:pt idx="756">
                  <c:v>3723623</c:v>
                </c:pt>
                <c:pt idx="757">
                  <c:v>3725160</c:v>
                </c:pt>
                <c:pt idx="758">
                  <c:v>3726384</c:v>
                </c:pt>
                <c:pt idx="759">
                  <c:v>3727206</c:v>
                </c:pt>
                <c:pt idx="760">
                  <c:v>3727818</c:v>
                </c:pt>
                <c:pt idx="761">
                  <c:v>3729920</c:v>
                </c:pt>
                <c:pt idx="762">
                  <c:v>3731648</c:v>
                </c:pt>
                <c:pt idx="763">
                  <c:v>3733462</c:v>
                </c:pt>
                <c:pt idx="764">
                  <c:v>3735057</c:v>
                </c:pt>
                <c:pt idx="765">
                  <c:v>3736360</c:v>
                </c:pt>
                <c:pt idx="766">
                  <c:v>3737173</c:v>
                </c:pt>
                <c:pt idx="767">
                  <c:v>3737831</c:v>
                </c:pt>
                <c:pt idx="768">
                  <c:v>3740089</c:v>
                </c:pt>
                <c:pt idx="769">
                  <c:v>3742063</c:v>
                </c:pt>
                <c:pt idx="770">
                  <c:v>3744443</c:v>
                </c:pt>
                <c:pt idx="771">
                  <c:v>3746523</c:v>
                </c:pt>
                <c:pt idx="772">
                  <c:v>3747388</c:v>
                </c:pt>
                <c:pt idx="773">
                  <c:v>3748597</c:v>
                </c:pt>
                <c:pt idx="774">
                  <c:v>3749507</c:v>
                </c:pt>
                <c:pt idx="775">
                  <c:v>3750966</c:v>
                </c:pt>
                <c:pt idx="776">
                  <c:v>3755604</c:v>
                </c:pt>
                <c:pt idx="777">
                  <c:v>3760139</c:v>
                </c:pt>
                <c:pt idx="778">
                  <c:v>3764694</c:v>
                </c:pt>
                <c:pt idx="779">
                  <c:v>3769068</c:v>
                </c:pt>
                <c:pt idx="780">
                  <c:v>3771582</c:v>
                </c:pt>
                <c:pt idx="781">
                  <c:v>3773683</c:v>
                </c:pt>
                <c:pt idx="782">
                  <c:v>3780696</c:v>
                </c:pt>
                <c:pt idx="783">
                  <c:v>3786688</c:v>
                </c:pt>
                <c:pt idx="784">
                  <c:v>3789486</c:v>
                </c:pt>
                <c:pt idx="785">
                  <c:v>3796516</c:v>
                </c:pt>
                <c:pt idx="786">
                  <c:v>3802194</c:v>
                </c:pt>
                <c:pt idx="787">
                  <c:v>3805382</c:v>
                </c:pt>
                <c:pt idx="788">
                  <c:v>3807951</c:v>
                </c:pt>
                <c:pt idx="789">
                  <c:v>3811491</c:v>
                </c:pt>
                <c:pt idx="790">
                  <c:v>3822044</c:v>
                </c:pt>
                <c:pt idx="791">
                  <c:v>3831911</c:v>
                </c:pt>
                <c:pt idx="792">
                  <c:v>3840713</c:v>
                </c:pt>
                <c:pt idx="793">
                  <c:v>3849036</c:v>
                </c:pt>
                <c:pt idx="794">
                  <c:v>3852966</c:v>
                </c:pt>
                <c:pt idx="795">
                  <c:v>3855733</c:v>
                </c:pt>
                <c:pt idx="796">
                  <c:v>3866843</c:v>
                </c:pt>
                <c:pt idx="797">
                  <c:v>3875976</c:v>
                </c:pt>
                <c:pt idx="798">
                  <c:v>3884661</c:v>
                </c:pt>
                <c:pt idx="799">
                  <c:v>3892412</c:v>
                </c:pt>
                <c:pt idx="800">
                  <c:v>3898931</c:v>
                </c:pt>
                <c:pt idx="801">
                  <c:v>3901937</c:v>
                </c:pt>
                <c:pt idx="802">
                  <c:v>3904304</c:v>
                </c:pt>
                <c:pt idx="803">
                  <c:v>3913938</c:v>
                </c:pt>
                <c:pt idx="804">
                  <c:v>3921256</c:v>
                </c:pt>
                <c:pt idx="805">
                  <c:v>3927890</c:v>
                </c:pt>
                <c:pt idx="806">
                  <c:v>3933205</c:v>
                </c:pt>
                <c:pt idx="807">
                  <c:v>3937584</c:v>
                </c:pt>
                <c:pt idx="808">
                  <c:v>3939688</c:v>
                </c:pt>
                <c:pt idx="809">
                  <c:v>3941227</c:v>
                </c:pt>
                <c:pt idx="810">
                  <c:v>3947183</c:v>
                </c:pt>
                <c:pt idx="811">
                  <c:v>3951642</c:v>
                </c:pt>
                <c:pt idx="812">
                  <c:v>3955519</c:v>
                </c:pt>
                <c:pt idx="813">
                  <c:v>3958789</c:v>
                </c:pt>
                <c:pt idx="814">
                  <c:v>3961438</c:v>
                </c:pt>
                <c:pt idx="815">
                  <c:v>3962784</c:v>
                </c:pt>
                <c:pt idx="816">
                  <c:v>3963793</c:v>
                </c:pt>
                <c:pt idx="817">
                  <c:v>3967389</c:v>
                </c:pt>
                <c:pt idx="818">
                  <c:v>3969828</c:v>
                </c:pt>
                <c:pt idx="819">
                  <c:v>3972104</c:v>
                </c:pt>
                <c:pt idx="820">
                  <c:v>3974029</c:v>
                </c:pt>
                <c:pt idx="821">
                  <c:v>3975735</c:v>
                </c:pt>
                <c:pt idx="822">
                  <c:v>3976505</c:v>
                </c:pt>
                <c:pt idx="823">
                  <c:v>3977246</c:v>
                </c:pt>
                <c:pt idx="824">
                  <c:v>3979519</c:v>
                </c:pt>
                <c:pt idx="825">
                  <c:v>3981305</c:v>
                </c:pt>
                <c:pt idx="826">
                  <c:v>3982939</c:v>
                </c:pt>
                <c:pt idx="827">
                  <c:v>3984304</c:v>
                </c:pt>
                <c:pt idx="828">
                  <c:v>3985461</c:v>
                </c:pt>
                <c:pt idx="829">
                  <c:v>3986109</c:v>
                </c:pt>
                <c:pt idx="830">
                  <c:v>3986630</c:v>
                </c:pt>
                <c:pt idx="831">
                  <c:v>3988092</c:v>
                </c:pt>
                <c:pt idx="832">
                  <c:v>3989103</c:v>
                </c:pt>
                <c:pt idx="833">
                  <c:v>3989967</c:v>
                </c:pt>
                <c:pt idx="834">
                  <c:v>3990315</c:v>
                </c:pt>
                <c:pt idx="835">
                  <c:v>3991104</c:v>
                </c:pt>
                <c:pt idx="836">
                  <c:v>3991481</c:v>
                </c:pt>
                <c:pt idx="837">
                  <c:v>3991803</c:v>
                </c:pt>
                <c:pt idx="838">
                  <c:v>3992836</c:v>
                </c:pt>
                <c:pt idx="839">
                  <c:v>3993546</c:v>
                </c:pt>
                <c:pt idx="840">
                  <c:v>3994260</c:v>
                </c:pt>
                <c:pt idx="841">
                  <c:v>3994787</c:v>
                </c:pt>
                <c:pt idx="842">
                  <c:v>3995196</c:v>
                </c:pt>
                <c:pt idx="843">
                  <c:v>3995420</c:v>
                </c:pt>
                <c:pt idx="844">
                  <c:v>3995603</c:v>
                </c:pt>
                <c:pt idx="845">
                  <c:v>3996101</c:v>
                </c:pt>
                <c:pt idx="846">
                  <c:v>3996530</c:v>
                </c:pt>
                <c:pt idx="847">
                  <c:v>3996932</c:v>
                </c:pt>
                <c:pt idx="848">
                  <c:v>3997250</c:v>
                </c:pt>
                <c:pt idx="849">
                  <c:v>3997620</c:v>
                </c:pt>
                <c:pt idx="850">
                  <c:v>3997818</c:v>
                </c:pt>
                <c:pt idx="851">
                  <c:v>3998008</c:v>
                </c:pt>
                <c:pt idx="852">
                  <c:v>3998489</c:v>
                </c:pt>
                <c:pt idx="853">
                  <c:v>3998895</c:v>
                </c:pt>
                <c:pt idx="854">
                  <c:v>3999259</c:v>
                </c:pt>
                <c:pt idx="855">
                  <c:v>3999642</c:v>
                </c:pt>
                <c:pt idx="856">
                  <c:v>3999951</c:v>
                </c:pt>
                <c:pt idx="857">
                  <c:v>4000140</c:v>
                </c:pt>
                <c:pt idx="858">
                  <c:v>4000295</c:v>
                </c:pt>
                <c:pt idx="859">
                  <c:v>4000752</c:v>
                </c:pt>
                <c:pt idx="860">
                  <c:v>4001118</c:v>
                </c:pt>
                <c:pt idx="861">
                  <c:v>4001452</c:v>
                </c:pt>
                <c:pt idx="862">
                  <c:v>4001804</c:v>
                </c:pt>
                <c:pt idx="863">
                  <c:v>4002109</c:v>
                </c:pt>
                <c:pt idx="864">
                  <c:v>4002272</c:v>
                </c:pt>
                <c:pt idx="865">
                  <c:v>4002429</c:v>
                </c:pt>
                <c:pt idx="866">
                  <c:v>4002816</c:v>
                </c:pt>
                <c:pt idx="867">
                  <c:v>4003136</c:v>
                </c:pt>
                <c:pt idx="868">
                  <c:v>4003443</c:v>
                </c:pt>
                <c:pt idx="869">
                  <c:v>4003719</c:v>
                </c:pt>
                <c:pt idx="870">
                  <c:v>4004059</c:v>
                </c:pt>
                <c:pt idx="871">
                  <c:v>4004209</c:v>
                </c:pt>
                <c:pt idx="872">
                  <c:v>4004349</c:v>
                </c:pt>
                <c:pt idx="873">
                  <c:v>4004736</c:v>
                </c:pt>
                <c:pt idx="874">
                  <c:v>4005052</c:v>
                </c:pt>
                <c:pt idx="875">
                  <c:v>4005352</c:v>
                </c:pt>
                <c:pt idx="876">
                  <c:v>4005636</c:v>
                </c:pt>
                <c:pt idx="877">
                  <c:v>4005879</c:v>
                </c:pt>
                <c:pt idx="878">
                  <c:v>4006023</c:v>
                </c:pt>
                <c:pt idx="879">
                  <c:v>4006132</c:v>
                </c:pt>
                <c:pt idx="880">
                  <c:v>4006449</c:v>
                </c:pt>
                <c:pt idx="881">
                  <c:v>4006692</c:v>
                </c:pt>
                <c:pt idx="882">
                  <c:v>4006976</c:v>
                </c:pt>
                <c:pt idx="883">
                  <c:v>4007257</c:v>
                </c:pt>
                <c:pt idx="884">
                  <c:v>4007485</c:v>
                </c:pt>
                <c:pt idx="885">
                  <c:v>4007593</c:v>
                </c:pt>
                <c:pt idx="886">
                  <c:v>4007674</c:v>
                </c:pt>
                <c:pt idx="887">
                  <c:v>4007973</c:v>
                </c:pt>
                <c:pt idx="888">
                  <c:v>4008111</c:v>
                </c:pt>
                <c:pt idx="889">
                  <c:v>4008456</c:v>
                </c:pt>
                <c:pt idx="890">
                  <c:v>4008727</c:v>
                </c:pt>
                <c:pt idx="891">
                  <c:v>4008965</c:v>
                </c:pt>
                <c:pt idx="892">
                  <c:v>4009071</c:v>
                </c:pt>
                <c:pt idx="893">
                  <c:v>4009170</c:v>
                </c:pt>
                <c:pt idx="894">
                  <c:v>4009505</c:v>
                </c:pt>
                <c:pt idx="895">
                  <c:v>4009773</c:v>
                </c:pt>
                <c:pt idx="896">
                  <c:v>4010012</c:v>
                </c:pt>
                <c:pt idx="897">
                  <c:v>4010233</c:v>
                </c:pt>
                <c:pt idx="898">
                  <c:v>4010420</c:v>
                </c:pt>
                <c:pt idx="899">
                  <c:v>4010523</c:v>
                </c:pt>
                <c:pt idx="900">
                  <c:v>4010618</c:v>
                </c:pt>
                <c:pt idx="901">
                  <c:v>4010887</c:v>
                </c:pt>
                <c:pt idx="902">
                  <c:v>4011146</c:v>
                </c:pt>
                <c:pt idx="903">
                  <c:v>4011364</c:v>
                </c:pt>
                <c:pt idx="904">
                  <c:v>4011575</c:v>
                </c:pt>
                <c:pt idx="905">
                  <c:v>4011758</c:v>
                </c:pt>
                <c:pt idx="906">
                  <c:v>4011866</c:v>
                </c:pt>
                <c:pt idx="907">
                  <c:v>4011933</c:v>
                </c:pt>
                <c:pt idx="908">
                  <c:v>4012211</c:v>
                </c:pt>
                <c:pt idx="909">
                  <c:v>4012463</c:v>
                </c:pt>
                <c:pt idx="910">
                  <c:v>4012705</c:v>
                </c:pt>
                <c:pt idx="911">
                  <c:v>4012907</c:v>
                </c:pt>
                <c:pt idx="912">
                  <c:v>4013078</c:v>
                </c:pt>
                <c:pt idx="913">
                  <c:v>4013192</c:v>
                </c:pt>
                <c:pt idx="914">
                  <c:v>4013285</c:v>
                </c:pt>
                <c:pt idx="915">
                  <c:v>4013589</c:v>
                </c:pt>
                <c:pt idx="916">
                  <c:v>4013875</c:v>
                </c:pt>
                <c:pt idx="917">
                  <c:v>4014132</c:v>
                </c:pt>
                <c:pt idx="918">
                  <c:v>4014375</c:v>
                </c:pt>
                <c:pt idx="919">
                  <c:v>4014598</c:v>
                </c:pt>
                <c:pt idx="920">
                  <c:v>4014698</c:v>
                </c:pt>
                <c:pt idx="921">
                  <c:v>4014790</c:v>
                </c:pt>
                <c:pt idx="922">
                  <c:v>4015112</c:v>
                </c:pt>
                <c:pt idx="923">
                  <c:v>4015417</c:v>
                </c:pt>
                <c:pt idx="924">
                  <c:v>4015723</c:v>
                </c:pt>
                <c:pt idx="925">
                  <c:v>4015988</c:v>
                </c:pt>
                <c:pt idx="926">
                  <c:v>4016203</c:v>
                </c:pt>
                <c:pt idx="927">
                  <c:v>4016340</c:v>
                </c:pt>
                <c:pt idx="928">
                  <c:v>4016472</c:v>
                </c:pt>
                <c:pt idx="929">
                  <c:v>4016797</c:v>
                </c:pt>
                <c:pt idx="930">
                  <c:v>4017064</c:v>
                </c:pt>
                <c:pt idx="931">
                  <c:v>4017345</c:v>
                </c:pt>
                <c:pt idx="932">
                  <c:v>4017589</c:v>
                </c:pt>
                <c:pt idx="933">
                  <c:v>4017820</c:v>
                </c:pt>
                <c:pt idx="934">
                  <c:v>4017950</c:v>
                </c:pt>
                <c:pt idx="935">
                  <c:v>4018082</c:v>
                </c:pt>
                <c:pt idx="936">
                  <c:v>4018473</c:v>
                </c:pt>
                <c:pt idx="937">
                  <c:v>4018813</c:v>
                </c:pt>
                <c:pt idx="938">
                  <c:v>4019144</c:v>
                </c:pt>
                <c:pt idx="939">
                  <c:v>4019451</c:v>
                </c:pt>
                <c:pt idx="940">
                  <c:v>4019708</c:v>
                </c:pt>
                <c:pt idx="941">
                  <c:v>4019778</c:v>
                </c:pt>
                <c:pt idx="942">
                  <c:v>4019879</c:v>
                </c:pt>
                <c:pt idx="943">
                  <c:v>4020262</c:v>
                </c:pt>
                <c:pt idx="944">
                  <c:v>4020607</c:v>
                </c:pt>
                <c:pt idx="945">
                  <c:v>4020963</c:v>
                </c:pt>
                <c:pt idx="946">
                  <c:v>4021303</c:v>
                </c:pt>
                <c:pt idx="947">
                  <c:v>4021593</c:v>
                </c:pt>
                <c:pt idx="948">
                  <c:v>4021765</c:v>
                </c:pt>
                <c:pt idx="949">
                  <c:v>4021911</c:v>
                </c:pt>
                <c:pt idx="950">
                  <c:v>4022415</c:v>
                </c:pt>
                <c:pt idx="951">
                  <c:v>4022858</c:v>
                </c:pt>
                <c:pt idx="952">
                  <c:v>4023346</c:v>
                </c:pt>
                <c:pt idx="953">
                  <c:v>4023767</c:v>
                </c:pt>
                <c:pt idx="954">
                  <c:v>4024131</c:v>
                </c:pt>
                <c:pt idx="955">
                  <c:v>4024355</c:v>
                </c:pt>
                <c:pt idx="956">
                  <c:v>4024507</c:v>
                </c:pt>
                <c:pt idx="957">
                  <c:v>4025001</c:v>
                </c:pt>
                <c:pt idx="958">
                  <c:v>4025483</c:v>
                </c:pt>
                <c:pt idx="959">
                  <c:v>4025942</c:v>
                </c:pt>
                <c:pt idx="960">
                  <c:v>4026363</c:v>
                </c:pt>
                <c:pt idx="961">
                  <c:v>4026729</c:v>
                </c:pt>
                <c:pt idx="962">
                  <c:v>4026879</c:v>
                </c:pt>
                <c:pt idx="963">
                  <c:v>4027024</c:v>
                </c:pt>
                <c:pt idx="964">
                  <c:v>4027512</c:v>
                </c:pt>
                <c:pt idx="965">
                  <c:v>4027928</c:v>
                </c:pt>
                <c:pt idx="966">
                  <c:v>4028374</c:v>
                </c:pt>
                <c:pt idx="967">
                  <c:v>4028783</c:v>
                </c:pt>
                <c:pt idx="968">
                  <c:v>4029138</c:v>
                </c:pt>
                <c:pt idx="969">
                  <c:v>4029306</c:v>
                </c:pt>
                <c:pt idx="970">
                  <c:v>4029476</c:v>
                </c:pt>
                <c:pt idx="971">
                  <c:v>4030002</c:v>
                </c:pt>
                <c:pt idx="972">
                  <c:v>4030430</c:v>
                </c:pt>
                <c:pt idx="973">
                  <c:v>4030882</c:v>
                </c:pt>
                <c:pt idx="974">
                  <c:v>4031344</c:v>
                </c:pt>
                <c:pt idx="975">
                  <c:v>4031715</c:v>
                </c:pt>
                <c:pt idx="976">
                  <c:v>4031944</c:v>
                </c:pt>
                <c:pt idx="977">
                  <c:v>4032138</c:v>
                </c:pt>
                <c:pt idx="978">
                  <c:v>4032809</c:v>
                </c:pt>
                <c:pt idx="979">
                  <c:v>4033347</c:v>
                </c:pt>
                <c:pt idx="980">
                  <c:v>4033895</c:v>
                </c:pt>
                <c:pt idx="981">
                  <c:v>4034454</c:v>
                </c:pt>
                <c:pt idx="982">
                  <c:v>4034922</c:v>
                </c:pt>
                <c:pt idx="983">
                  <c:v>4035143</c:v>
                </c:pt>
                <c:pt idx="984">
                  <c:v>4035322</c:v>
                </c:pt>
                <c:pt idx="985">
                  <c:v>4035990</c:v>
                </c:pt>
                <c:pt idx="986">
                  <c:v>4036516</c:v>
                </c:pt>
                <c:pt idx="987">
                  <c:v>4037032</c:v>
                </c:pt>
                <c:pt idx="988">
                  <c:v>4037480</c:v>
                </c:pt>
                <c:pt idx="989">
                  <c:v>4037924</c:v>
                </c:pt>
                <c:pt idx="990">
                  <c:v>4038051</c:v>
                </c:pt>
              </c:numCache>
            </c:numRef>
          </c:val>
          <c:smooth val="0"/>
          <c:extLst>
            <c:ext xmlns:c16="http://schemas.microsoft.com/office/drawing/2014/chart" uri="{C3380CC4-5D6E-409C-BE32-E72D297353CC}">
              <c16:uniqueId val="{00000001-5927-43B6-9AB5-ACC4FE79C0BB}"/>
            </c:ext>
          </c:extLst>
        </c:ser>
        <c:dLbls>
          <c:showLegendKey val="0"/>
          <c:showVal val="0"/>
          <c:showCatName val="0"/>
          <c:showSerName val="0"/>
          <c:showPercent val="0"/>
          <c:showBubbleSize val="0"/>
        </c:dLbls>
        <c:marker val="1"/>
        <c:smooth val="0"/>
        <c:axId val="611366832"/>
        <c:axId val="611370576"/>
      </c:lineChart>
      <c:catAx>
        <c:axId val="61138222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a:t>Epidemiologic week</a:t>
                </a:r>
              </a:p>
            </c:rich>
          </c:tx>
          <c:layout>
            <c:manualLayout>
              <c:xMode val="edge"/>
              <c:yMode val="edge"/>
              <c:x val="0.4486429773886722"/>
              <c:y val="0.9488429473906508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11361424"/>
        <c:crosses val="autoZero"/>
        <c:auto val="1"/>
        <c:lblAlgn val="ctr"/>
        <c:lblOffset val="100"/>
        <c:noMultiLvlLbl val="0"/>
      </c:catAx>
      <c:valAx>
        <c:axId val="61136142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a:t>Number of cases</a:t>
                </a:r>
              </a:p>
            </c:rich>
          </c:tx>
          <c:layout>
            <c:manualLayout>
              <c:xMode val="edge"/>
              <c:yMode val="edge"/>
              <c:x val="1.2291807510294388E-3"/>
              <c:y val="0.3275217122249962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11382224"/>
        <c:crosses val="autoZero"/>
        <c:crossBetween val="between"/>
        <c:majorUnit val="3000"/>
      </c:valAx>
      <c:valAx>
        <c:axId val="611370576"/>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Cumulative number of cases</a:t>
                </a:r>
              </a:p>
            </c:rich>
          </c:tx>
          <c:layout>
            <c:manualLayout>
              <c:xMode val="edge"/>
              <c:yMode val="edge"/>
              <c:x val="0.98501009234825299"/>
              <c:y val="0.27208117278023175"/>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11366832"/>
        <c:crosses val="max"/>
        <c:crossBetween val="between"/>
        <c:majorUnit val="250000"/>
      </c:valAx>
      <c:catAx>
        <c:axId val="611366832"/>
        <c:scaling>
          <c:orientation val="minMax"/>
        </c:scaling>
        <c:delete val="1"/>
        <c:axPos val="b"/>
        <c:numFmt formatCode="General" sourceLinked="1"/>
        <c:majorTickMark val="out"/>
        <c:minorTickMark val="none"/>
        <c:tickLblPos val="nextTo"/>
        <c:crossAx val="611370576"/>
        <c:crosses val="autoZero"/>
        <c:auto val="1"/>
        <c:lblAlgn val="ctr"/>
        <c:lblOffset val="100"/>
        <c:noMultiLvlLbl val="0"/>
      </c:catAx>
      <c:spPr>
        <a:noFill/>
        <a:ln>
          <a:noFill/>
        </a:ln>
        <a:effectLst/>
      </c:spPr>
    </c:plotArea>
    <c:legend>
      <c:legendPos val="b"/>
      <c:layout>
        <c:manualLayout>
          <c:xMode val="edge"/>
          <c:yMode val="edge"/>
          <c:x val="5.531906434273616E-2"/>
          <c:y val="2.4746786469100442E-2"/>
          <c:w val="0.28857782932444959"/>
          <c:h val="4.293757683429295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bg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3241023762906202E-2"/>
          <c:y val="2.3694059118512502E-2"/>
          <c:w val="0.91677564454711502"/>
          <c:h val="0.57115040974980424"/>
        </c:manualLayout>
      </c:layout>
      <c:barChart>
        <c:barDir val="col"/>
        <c:grouping val="stacked"/>
        <c:varyColors val="0"/>
        <c:ser>
          <c:idx val="10"/>
          <c:order val="4"/>
          <c:tx>
            <c:strRef>
              <c:f>'epi_curve (2024-2025)'!$H$1</c:f>
              <c:strCache>
                <c:ptCount val="1"/>
                <c:pt idx="0">
                  <c:v>Gauteng respiratory cases</c:v>
                </c:pt>
              </c:strCache>
            </c:strRef>
          </c:tx>
          <c:spPr>
            <a:solidFill>
              <a:srgbClr val="276A7C"/>
            </a:solidFill>
            <a:ln>
              <a:solidFill>
                <a:schemeClr val="accent1">
                  <a:lumMod val="75000"/>
                </a:schemeClr>
              </a:solidFill>
            </a:ln>
            <a:effectLst/>
          </c:spPr>
          <c:invertIfNegative val="0"/>
          <c:dPt>
            <c:idx val="53"/>
            <c:invertIfNegative val="0"/>
            <c:bubble3D val="0"/>
            <c:spPr>
              <a:solidFill>
                <a:srgbClr val="276A7C"/>
              </a:solidFill>
              <a:ln w="15875">
                <a:solidFill>
                  <a:schemeClr val="accent1">
                    <a:lumMod val="75000"/>
                  </a:schemeClr>
                </a:solidFill>
              </a:ln>
              <a:effectLst/>
            </c:spPr>
            <c:extLst>
              <c:ext xmlns:c16="http://schemas.microsoft.com/office/drawing/2014/chart" uri="{C3380CC4-5D6E-409C-BE32-E72D297353CC}">
                <c16:uniqueId val="{00000001-829B-457F-9B60-395118DED5C7}"/>
              </c:ext>
            </c:extLst>
          </c:dPt>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H$2:$H$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2</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2</c:v>
                </c:pt>
              </c:numCache>
            </c:numRef>
          </c:val>
          <c:extLst xmlns:c15="http://schemas.microsoft.com/office/drawing/2012/chart">
            <c:ext xmlns:c16="http://schemas.microsoft.com/office/drawing/2014/chart" uri="{C3380CC4-5D6E-409C-BE32-E72D297353CC}">
              <c16:uniqueId val="{00000002-829B-457F-9B60-395118DED5C7}"/>
            </c:ext>
          </c:extLst>
        </c:ser>
        <c:ser>
          <c:idx val="25"/>
          <c:order val="5"/>
          <c:tx>
            <c:strRef>
              <c:f>'epi_curve (2024-2025)'!$P$1</c:f>
              <c:strCache>
                <c:ptCount val="1"/>
                <c:pt idx="0">
                  <c:v>Limpopo respiratory cases</c:v>
                </c:pt>
              </c:strCache>
            </c:strRef>
          </c:tx>
          <c:spPr>
            <a:solidFill>
              <a:schemeClr val="accent2">
                <a:lumMod val="75000"/>
              </a:schemeClr>
            </a:solidFill>
            <a:ln>
              <a:solidFill>
                <a:schemeClr val="accent2">
                  <a:lumMod val="75000"/>
                </a:schemeClr>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P$2:$P$82</c:f>
              <c:numCache>
                <c:formatCode>General</c:formatCode>
                <c:ptCount val="81"/>
                <c:pt idx="63">
                  <c:v>1</c:v>
                </c:pt>
                <c:pt idx="64">
                  <c:v>0</c:v>
                </c:pt>
                <c:pt idx="65">
                  <c:v>2</c:v>
                </c:pt>
                <c:pt idx="66">
                  <c:v>1</c:v>
                </c:pt>
                <c:pt idx="67">
                  <c:v>2</c:v>
                </c:pt>
                <c:pt idx="68">
                  <c:v>1</c:v>
                </c:pt>
                <c:pt idx="69">
                  <c:v>0</c:v>
                </c:pt>
                <c:pt idx="70">
                  <c:v>1</c:v>
                </c:pt>
                <c:pt idx="71">
                  <c:v>1</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3-829B-457F-9B60-395118DED5C7}"/>
            </c:ext>
          </c:extLst>
        </c:ser>
        <c:ser>
          <c:idx val="16"/>
          <c:order val="6"/>
          <c:tx>
            <c:strRef>
              <c:f>'epi_curve (2024-2025)'!$N$1</c:f>
              <c:strCache>
                <c:ptCount val="1"/>
                <c:pt idx="0">
                  <c:v>Mpumalanga respiratory cases</c:v>
                </c:pt>
              </c:strCache>
              <c:extLst xmlns:c15="http://schemas.microsoft.com/office/drawing/2012/chart"/>
            </c:strRef>
          </c:tx>
          <c:spPr>
            <a:solidFill>
              <a:srgbClr val="6FBDD1"/>
            </a:solidFill>
            <a:ln>
              <a:solidFill>
                <a:srgbClr val="6FBDD1"/>
              </a:solidFill>
            </a:ln>
            <a:effectLst/>
          </c:spPr>
          <c:invertIfNegative val="0"/>
          <c:dPt>
            <c:idx val="65"/>
            <c:invertIfNegative val="0"/>
            <c:bubble3D val="0"/>
            <c:spPr>
              <a:solidFill>
                <a:srgbClr val="6FBDD1"/>
              </a:solidFill>
              <a:ln>
                <a:noFill/>
              </a:ln>
              <a:effectLst/>
            </c:spPr>
            <c:extLst>
              <c:ext xmlns:c16="http://schemas.microsoft.com/office/drawing/2014/chart" uri="{C3380CC4-5D6E-409C-BE32-E72D297353CC}">
                <c16:uniqueId val="{00000005-829B-457F-9B60-395118DED5C7}"/>
              </c:ext>
            </c:extLst>
          </c:dPt>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N$2:$N$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1</c:v>
                </c:pt>
                <c:pt idx="61">
                  <c:v>0</c:v>
                </c:pt>
                <c:pt idx="62">
                  <c:v>2</c:v>
                </c:pt>
                <c:pt idx="63">
                  <c:v>0</c:v>
                </c:pt>
                <c:pt idx="64">
                  <c:v>0</c:v>
                </c:pt>
                <c:pt idx="65">
                  <c:v>1</c:v>
                </c:pt>
                <c:pt idx="66">
                  <c:v>1</c:v>
                </c:pt>
                <c:pt idx="67">
                  <c:v>1</c:v>
                </c:pt>
                <c:pt idx="68">
                  <c:v>0</c:v>
                </c:pt>
                <c:pt idx="69">
                  <c:v>1</c:v>
                </c:pt>
                <c:pt idx="70">
                  <c:v>0</c:v>
                </c:pt>
                <c:pt idx="71">
                  <c:v>1</c:v>
                </c:pt>
                <c:pt idx="72">
                  <c:v>0</c:v>
                </c:pt>
                <c:pt idx="73">
                  <c:v>0</c:v>
                </c:pt>
                <c:pt idx="74">
                  <c:v>0</c:v>
                </c:pt>
                <c:pt idx="75">
                  <c:v>0</c:v>
                </c:pt>
                <c:pt idx="76">
                  <c:v>0</c:v>
                </c:pt>
                <c:pt idx="77">
                  <c:v>0</c:v>
                </c:pt>
                <c:pt idx="78">
                  <c:v>0</c:v>
                </c:pt>
                <c:pt idx="79">
                  <c:v>0</c:v>
                </c:pt>
                <c:pt idx="80">
                  <c:v>0</c:v>
                </c:pt>
              </c:numCache>
            </c:numRef>
          </c:val>
          <c:extLst xmlns:c15="http://schemas.microsoft.com/office/drawing/2012/chart">
            <c:ext xmlns:c16="http://schemas.microsoft.com/office/drawing/2014/chart" uri="{C3380CC4-5D6E-409C-BE32-E72D297353CC}">
              <c16:uniqueId val="{00000006-829B-457F-9B60-395118DED5C7}"/>
            </c:ext>
          </c:extLst>
        </c:ser>
        <c:ser>
          <c:idx val="13"/>
          <c:order val="7"/>
          <c:tx>
            <c:strRef>
              <c:f>'epi_curve (2024-2025)'!$L$1</c:f>
              <c:strCache>
                <c:ptCount val="1"/>
                <c:pt idx="0">
                  <c:v>KwaZulu Natal respiratory cases</c:v>
                </c:pt>
              </c:strCache>
            </c:strRef>
          </c:tx>
          <c:spPr>
            <a:solidFill>
              <a:schemeClr val="accent6"/>
            </a:solidFill>
            <a:ln>
              <a:solidFill>
                <a:srgbClr val="F79646"/>
              </a:solidFill>
            </a:ln>
            <a:effectLst/>
          </c:spPr>
          <c:invertIfNegative val="0"/>
          <c:dPt>
            <c:idx val="23"/>
            <c:invertIfNegative val="0"/>
            <c:bubble3D val="0"/>
            <c:spPr>
              <a:solidFill>
                <a:schemeClr val="accent6"/>
              </a:solidFill>
              <a:ln>
                <a:solidFill>
                  <a:srgbClr val="F79646"/>
                </a:solidFill>
              </a:ln>
              <a:effectLst/>
            </c:spPr>
            <c:extLst>
              <c:ext xmlns:c16="http://schemas.microsoft.com/office/drawing/2014/chart" uri="{C3380CC4-5D6E-409C-BE32-E72D297353CC}">
                <c16:uniqueId val="{00000008-829B-457F-9B60-395118DED5C7}"/>
              </c:ext>
            </c:extLst>
          </c:dPt>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L$2:$L$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1</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1</c:v>
                </c:pt>
                <c:pt idx="68">
                  <c:v>0</c:v>
                </c:pt>
                <c:pt idx="69">
                  <c:v>0</c:v>
                </c:pt>
                <c:pt idx="70">
                  <c:v>0</c:v>
                </c:pt>
                <c:pt idx="71">
                  <c:v>1</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9-829B-457F-9B60-395118DED5C7}"/>
            </c:ext>
          </c:extLst>
        </c:ser>
        <c:ser>
          <c:idx val="22"/>
          <c:order val="9"/>
          <c:tx>
            <c:strRef>
              <c:f>'epi_curve (2024-2025)'!$U$1</c:f>
              <c:strCache>
                <c:ptCount val="1"/>
                <c:pt idx="0">
                  <c:v>Western Cape respiratory cases</c:v>
                </c:pt>
              </c:strCache>
            </c:strRef>
          </c:tx>
          <c:spPr>
            <a:solidFill>
              <a:srgbClr val="92D050"/>
            </a:solidFill>
            <a:ln>
              <a:solidFill>
                <a:srgbClr val="92D050"/>
              </a:solidFill>
            </a:ln>
            <a:effectLst/>
          </c:spPr>
          <c:invertIfNegative val="0"/>
          <c:dPt>
            <c:idx val="53"/>
            <c:invertIfNegative val="0"/>
            <c:bubble3D val="0"/>
            <c:spPr>
              <a:solidFill>
                <a:srgbClr val="92D050"/>
              </a:solidFill>
              <a:ln>
                <a:noFill/>
              </a:ln>
              <a:effectLst/>
            </c:spPr>
            <c:extLst>
              <c:ext xmlns:c16="http://schemas.microsoft.com/office/drawing/2014/chart" uri="{C3380CC4-5D6E-409C-BE32-E72D297353CC}">
                <c16:uniqueId val="{0000000B-829B-457F-9B60-395118DED5C7}"/>
              </c:ext>
            </c:extLst>
          </c:dPt>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U$2:$U$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1</c:v>
                </c:pt>
                <c:pt idx="22">
                  <c:v>0</c:v>
                </c:pt>
                <c:pt idx="23">
                  <c:v>0</c:v>
                </c:pt>
                <c:pt idx="24">
                  <c:v>0</c:v>
                </c:pt>
                <c:pt idx="25">
                  <c:v>0</c:v>
                </c:pt>
                <c:pt idx="26">
                  <c:v>0</c:v>
                </c:pt>
                <c:pt idx="27">
                  <c:v>0</c:v>
                </c:pt>
                <c:pt idx="28">
                  <c:v>0</c:v>
                </c:pt>
                <c:pt idx="29">
                  <c:v>0</c:v>
                </c:pt>
                <c:pt idx="30">
                  <c:v>1</c:v>
                </c:pt>
                <c:pt idx="31">
                  <c:v>1</c:v>
                </c:pt>
                <c:pt idx="32">
                  <c:v>1</c:v>
                </c:pt>
                <c:pt idx="33">
                  <c:v>2</c:v>
                </c:pt>
                <c:pt idx="34">
                  <c:v>0</c:v>
                </c:pt>
                <c:pt idx="35">
                  <c:v>0</c:v>
                </c:pt>
                <c:pt idx="36">
                  <c:v>0</c:v>
                </c:pt>
                <c:pt idx="37">
                  <c:v>0</c:v>
                </c:pt>
                <c:pt idx="38">
                  <c:v>0</c:v>
                </c:pt>
                <c:pt idx="39">
                  <c:v>0</c:v>
                </c:pt>
                <c:pt idx="40">
                  <c:v>0</c:v>
                </c:pt>
                <c:pt idx="41">
                  <c:v>0</c:v>
                </c:pt>
                <c:pt idx="42">
                  <c:v>0</c:v>
                </c:pt>
                <c:pt idx="43">
                  <c:v>0</c:v>
                </c:pt>
                <c:pt idx="44">
                  <c:v>0</c:v>
                </c:pt>
                <c:pt idx="45">
                  <c:v>1</c:v>
                </c:pt>
                <c:pt idx="46">
                  <c:v>0</c:v>
                </c:pt>
                <c:pt idx="47">
                  <c:v>1</c:v>
                </c:pt>
                <c:pt idx="48">
                  <c:v>1</c:v>
                </c:pt>
                <c:pt idx="49">
                  <c:v>1</c:v>
                </c:pt>
                <c:pt idx="50">
                  <c:v>2</c:v>
                </c:pt>
                <c:pt idx="51">
                  <c:v>1</c:v>
                </c:pt>
                <c:pt idx="52">
                  <c:v>2</c:v>
                </c:pt>
                <c:pt idx="53">
                  <c:v>3</c:v>
                </c:pt>
                <c:pt idx="54">
                  <c:v>1</c:v>
                </c:pt>
                <c:pt idx="55">
                  <c:v>1</c:v>
                </c:pt>
                <c:pt idx="56">
                  <c:v>1</c:v>
                </c:pt>
                <c:pt idx="57">
                  <c:v>2</c:v>
                </c:pt>
                <c:pt idx="58">
                  <c:v>1</c:v>
                </c:pt>
                <c:pt idx="59">
                  <c:v>4</c:v>
                </c:pt>
                <c:pt idx="60">
                  <c:v>1</c:v>
                </c:pt>
                <c:pt idx="61">
                  <c:v>0</c:v>
                </c:pt>
                <c:pt idx="62">
                  <c:v>0</c:v>
                </c:pt>
                <c:pt idx="63">
                  <c:v>0</c:v>
                </c:pt>
                <c:pt idx="64">
                  <c:v>1</c:v>
                </c:pt>
                <c:pt idx="65">
                  <c:v>0</c:v>
                </c:pt>
                <c:pt idx="66">
                  <c:v>1</c:v>
                </c:pt>
                <c:pt idx="67">
                  <c:v>0</c:v>
                </c:pt>
                <c:pt idx="68">
                  <c:v>0</c:v>
                </c:pt>
                <c:pt idx="69">
                  <c:v>0</c:v>
                </c:pt>
                <c:pt idx="70">
                  <c:v>0</c:v>
                </c:pt>
                <c:pt idx="71">
                  <c:v>3</c:v>
                </c:pt>
                <c:pt idx="72">
                  <c:v>0</c:v>
                </c:pt>
                <c:pt idx="73">
                  <c:v>0</c:v>
                </c:pt>
                <c:pt idx="74">
                  <c:v>2</c:v>
                </c:pt>
                <c:pt idx="75">
                  <c:v>1</c:v>
                </c:pt>
                <c:pt idx="76">
                  <c:v>0</c:v>
                </c:pt>
                <c:pt idx="77">
                  <c:v>2</c:v>
                </c:pt>
                <c:pt idx="78">
                  <c:v>0</c:v>
                </c:pt>
                <c:pt idx="79">
                  <c:v>0</c:v>
                </c:pt>
                <c:pt idx="80">
                  <c:v>2</c:v>
                </c:pt>
              </c:numCache>
            </c:numRef>
          </c:val>
          <c:extLst>
            <c:ext xmlns:c16="http://schemas.microsoft.com/office/drawing/2014/chart" uri="{C3380CC4-5D6E-409C-BE32-E72D297353CC}">
              <c16:uniqueId val="{0000000C-829B-457F-9B60-395118DED5C7}"/>
            </c:ext>
          </c:extLst>
        </c:ser>
        <c:ser>
          <c:idx val="8"/>
          <c:order val="11"/>
          <c:tx>
            <c:strRef>
              <c:f>'epi_curve (2024-2025)'!$I$1</c:f>
              <c:strCache>
                <c:ptCount val="1"/>
                <c:pt idx="0">
                  <c:v>Gauteng asymptomatic carriers</c:v>
                </c:pt>
              </c:strCache>
              <c:extLst xmlns:c15="http://schemas.microsoft.com/office/drawing/2012/chart"/>
            </c:strRef>
          </c:tx>
          <c:spPr>
            <a:pattFill prst="wdDnDiag">
              <a:fgClr>
                <a:schemeClr val="accent1"/>
              </a:fgClr>
              <a:bgClr>
                <a:schemeClr val="bg1"/>
              </a:bgClr>
            </a:pattFill>
            <a:ln>
              <a:solidFill>
                <a:schemeClr val="accent1"/>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extLst xmlns:c15="http://schemas.microsoft.com/office/drawing/2012/chart"/>
            </c:multiLvlStrRef>
          </c:cat>
          <c:val>
            <c:numRef>
              <c:f>'epi_curve (2024-2025)'!$I$2:$I$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2</c:v>
                </c:pt>
              </c:numCache>
            </c:numRef>
          </c:val>
          <c:extLst xmlns:c15="http://schemas.microsoft.com/office/drawing/2012/chart">
            <c:ext xmlns:c16="http://schemas.microsoft.com/office/drawing/2014/chart" uri="{C3380CC4-5D6E-409C-BE32-E72D297353CC}">
              <c16:uniqueId val="{0000000D-829B-457F-9B60-395118DED5C7}"/>
            </c:ext>
          </c:extLst>
        </c:ser>
        <c:ser>
          <c:idx val="27"/>
          <c:order val="12"/>
          <c:tx>
            <c:strRef>
              <c:f>'epi_curve (2024-2025)'!$J$1</c:f>
              <c:strCache>
                <c:ptCount val="1"/>
                <c:pt idx="0">
                  <c:v>Gauteng cutaneous cases</c:v>
                </c:pt>
              </c:strCache>
            </c:strRef>
          </c:tx>
          <c:spPr>
            <a:pattFill prst="dkHorz">
              <a:fgClr>
                <a:srgbClr val="276A7C"/>
              </a:fgClr>
              <a:bgClr>
                <a:schemeClr val="bg1"/>
              </a:bgClr>
            </a:pattFill>
            <a:ln>
              <a:solidFill>
                <a:srgbClr val="276A7C"/>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J$2:$J$82</c:f>
              <c:numCache>
                <c:formatCode>General</c:formatCode>
                <c:ptCount val="81"/>
                <c:pt idx="68">
                  <c:v>1</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E-829B-457F-9B60-395118DED5C7}"/>
            </c:ext>
          </c:extLst>
        </c:ser>
        <c:ser>
          <c:idx val="24"/>
          <c:order val="13"/>
          <c:tx>
            <c:strRef>
              <c:f>'epi_curve (2024-2025)'!$O$1</c:f>
              <c:strCache>
                <c:ptCount val="1"/>
                <c:pt idx="0">
                  <c:v>Limpopo asymptomatic carriers</c:v>
                </c:pt>
              </c:strCache>
              <c:extLst xmlns:c15="http://schemas.microsoft.com/office/drawing/2012/chart"/>
            </c:strRef>
          </c:tx>
          <c:spPr>
            <a:pattFill prst="wdDnDiag">
              <a:fgClr>
                <a:schemeClr val="accent2">
                  <a:lumMod val="75000"/>
                </a:schemeClr>
              </a:fgClr>
              <a:bgClr>
                <a:schemeClr val="bg1"/>
              </a:bgClr>
            </a:pattFill>
            <a:ln>
              <a:solidFill>
                <a:schemeClr val="accent2">
                  <a:lumMod val="75000"/>
                </a:schemeClr>
              </a:solidFill>
            </a:ln>
            <a:effectLst/>
          </c:spPr>
          <c:invertIfNegative val="0"/>
          <c:dPt>
            <c:idx val="66"/>
            <c:invertIfNegative val="0"/>
            <c:bubble3D val="0"/>
            <c:spPr>
              <a:pattFill prst="wdDnDiag">
                <a:fgClr>
                  <a:schemeClr val="accent2">
                    <a:lumMod val="75000"/>
                  </a:schemeClr>
                </a:fgClr>
                <a:bgClr>
                  <a:schemeClr val="bg1"/>
                </a:bgClr>
              </a:pattFill>
              <a:ln>
                <a:solidFill>
                  <a:schemeClr val="accent2">
                    <a:lumMod val="75000"/>
                  </a:schemeClr>
                </a:solidFill>
              </a:ln>
              <a:effectLst/>
            </c:spPr>
            <c:extLst>
              <c:ext xmlns:c16="http://schemas.microsoft.com/office/drawing/2014/chart" uri="{C3380CC4-5D6E-409C-BE32-E72D297353CC}">
                <c16:uniqueId val="{00000010-829B-457F-9B60-395118DED5C7}"/>
              </c:ext>
            </c:extLst>
          </c:dPt>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O$2:$O$82</c:f>
              <c:numCache>
                <c:formatCode>General</c:formatCode>
                <c:ptCount val="81"/>
                <c:pt idx="64">
                  <c:v>0</c:v>
                </c:pt>
                <c:pt idx="65">
                  <c:v>0</c:v>
                </c:pt>
                <c:pt idx="66">
                  <c:v>2</c:v>
                </c:pt>
                <c:pt idx="67">
                  <c:v>0</c:v>
                </c:pt>
                <c:pt idx="68">
                  <c:v>2</c:v>
                </c:pt>
                <c:pt idx="69">
                  <c:v>0</c:v>
                </c:pt>
                <c:pt idx="70">
                  <c:v>0</c:v>
                </c:pt>
                <c:pt idx="71">
                  <c:v>0</c:v>
                </c:pt>
                <c:pt idx="72">
                  <c:v>1</c:v>
                </c:pt>
                <c:pt idx="73">
                  <c:v>0</c:v>
                </c:pt>
                <c:pt idx="74">
                  <c:v>0</c:v>
                </c:pt>
                <c:pt idx="75">
                  <c:v>0</c:v>
                </c:pt>
                <c:pt idx="76">
                  <c:v>0</c:v>
                </c:pt>
                <c:pt idx="77">
                  <c:v>0</c:v>
                </c:pt>
                <c:pt idx="78">
                  <c:v>0</c:v>
                </c:pt>
                <c:pt idx="79">
                  <c:v>0</c:v>
                </c:pt>
                <c:pt idx="80">
                  <c:v>0</c:v>
                </c:pt>
              </c:numCache>
            </c:numRef>
          </c:val>
          <c:extLst xmlns:c15="http://schemas.microsoft.com/office/drawing/2012/chart">
            <c:ext xmlns:c16="http://schemas.microsoft.com/office/drawing/2014/chart" uri="{C3380CC4-5D6E-409C-BE32-E72D297353CC}">
              <c16:uniqueId val="{00000011-829B-457F-9B60-395118DED5C7}"/>
            </c:ext>
          </c:extLst>
        </c:ser>
        <c:ser>
          <c:idx val="23"/>
          <c:order val="14"/>
          <c:tx>
            <c:strRef>
              <c:f>'epi_curve (2024-2025)'!$Q$1</c:f>
              <c:strCache>
                <c:ptCount val="1"/>
                <c:pt idx="0">
                  <c:v>Limpopo probable case</c:v>
                </c:pt>
              </c:strCache>
            </c:strRef>
          </c:tx>
          <c:spPr>
            <a:pattFill prst="lgCheck">
              <a:fgClr>
                <a:schemeClr val="accent2">
                  <a:lumMod val="75000"/>
                </a:schemeClr>
              </a:fgClr>
              <a:bgClr>
                <a:schemeClr val="bg1"/>
              </a:bgClr>
            </a:pattFill>
            <a:ln>
              <a:solidFill>
                <a:schemeClr val="accent2">
                  <a:lumMod val="75000"/>
                </a:schemeClr>
              </a:solidFill>
            </a:ln>
            <a:effectLst/>
          </c:spPr>
          <c:invertIfNegative val="0"/>
          <c:dPt>
            <c:idx val="61"/>
            <c:invertIfNegative val="0"/>
            <c:bubble3D val="0"/>
            <c:spPr>
              <a:pattFill prst="solidDmnd">
                <a:fgClr>
                  <a:schemeClr val="accent2">
                    <a:lumMod val="75000"/>
                  </a:schemeClr>
                </a:fgClr>
                <a:bgClr>
                  <a:schemeClr val="bg1"/>
                </a:bgClr>
              </a:pattFill>
              <a:ln>
                <a:solidFill>
                  <a:schemeClr val="accent2">
                    <a:lumMod val="75000"/>
                  </a:schemeClr>
                </a:solidFill>
              </a:ln>
              <a:effectLst/>
            </c:spPr>
            <c:extLst>
              <c:ext xmlns:c16="http://schemas.microsoft.com/office/drawing/2014/chart" uri="{C3380CC4-5D6E-409C-BE32-E72D297353CC}">
                <c16:uniqueId val="{00000013-829B-457F-9B60-395118DED5C7}"/>
              </c:ext>
            </c:extLst>
          </c:dPt>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Q$2:$Q$82</c:f>
              <c:numCache>
                <c:formatCode>General</c:formatCode>
                <c:ptCount val="81"/>
                <c:pt idx="61">
                  <c:v>1</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14-829B-457F-9B60-395118DED5C7}"/>
            </c:ext>
          </c:extLst>
        </c:ser>
        <c:ser>
          <c:idx val="11"/>
          <c:order val="15"/>
          <c:tx>
            <c:strRef>
              <c:f>'epi_curve (2024-2025)'!$K$1</c:f>
              <c:strCache>
                <c:ptCount val="1"/>
                <c:pt idx="0">
                  <c:v>KwaZulu Natal asymptomatic carriers</c:v>
                </c:pt>
              </c:strCache>
            </c:strRef>
          </c:tx>
          <c:spPr>
            <a:pattFill prst="wdDnDiag">
              <a:fgClr>
                <a:schemeClr val="accent6"/>
              </a:fgClr>
              <a:bgClr>
                <a:schemeClr val="bg1"/>
              </a:bgClr>
            </a:pattFill>
            <a:ln>
              <a:solidFill>
                <a:schemeClr val="accent6"/>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K$2:$K$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2</c:v>
                </c:pt>
                <c:pt idx="69">
                  <c:v>0</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15-829B-457F-9B60-395118DED5C7}"/>
            </c:ext>
          </c:extLst>
        </c:ser>
        <c:ser>
          <c:idx val="14"/>
          <c:order val="17"/>
          <c:tx>
            <c:strRef>
              <c:f>'epi_curve (2024-2025)'!$M$1</c:f>
              <c:strCache>
                <c:ptCount val="1"/>
                <c:pt idx="0">
                  <c:v>Mpumalanga asymptomatic carriers</c:v>
                </c:pt>
              </c:strCache>
              <c:extLst xmlns:c15="http://schemas.microsoft.com/office/drawing/2012/chart"/>
            </c:strRef>
          </c:tx>
          <c:spPr>
            <a:pattFill prst="wdDnDiag">
              <a:fgClr>
                <a:srgbClr val="6FBDD1"/>
              </a:fgClr>
              <a:bgClr>
                <a:schemeClr val="bg1"/>
              </a:bgClr>
            </a:pattFill>
            <a:ln>
              <a:solidFill>
                <a:srgbClr val="6FBDD1"/>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M$2:$M$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1</c:v>
                </c:pt>
                <c:pt idx="62">
                  <c:v>2</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numCache>
            </c:numRef>
          </c:val>
          <c:extLst xmlns:c15="http://schemas.microsoft.com/office/drawing/2012/chart">
            <c:ext xmlns:c16="http://schemas.microsoft.com/office/drawing/2014/chart" uri="{C3380CC4-5D6E-409C-BE32-E72D297353CC}">
              <c16:uniqueId val="{00000016-829B-457F-9B60-395118DED5C7}"/>
            </c:ext>
          </c:extLst>
        </c:ser>
        <c:ser>
          <c:idx val="20"/>
          <c:order val="19"/>
          <c:tx>
            <c:strRef>
              <c:f>'epi_curve (2024-2025)'!$T$1</c:f>
              <c:strCache>
                <c:ptCount val="1"/>
                <c:pt idx="0">
                  <c:v>Western Cape asymptomatic carriers</c:v>
                </c:pt>
              </c:strCache>
            </c:strRef>
          </c:tx>
          <c:spPr>
            <a:pattFill prst="wdDnDiag">
              <a:fgClr>
                <a:srgbClr val="92D050"/>
              </a:fgClr>
              <a:bgClr>
                <a:schemeClr val="bg1"/>
              </a:bgClr>
            </a:pattFill>
            <a:ln>
              <a:solidFill>
                <a:srgbClr val="92D050"/>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T$2:$T$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1</c:v>
                </c:pt>
                <c:pt idx="33">
                  <c:v>2</c:v>
                </c:pt>
                <c:pt idx="34">
                  <c:v>4</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2</c:v>
                </c:pt>
                <c:pt idx="50">
                  <c:v>10</c:v>
                </c:pt>
                <c:pt idx="51">
                  <c:v>0</c:v>
                </c:pt>
                <c:pt idx="52">
                  <c:v>0</c:v>
                </c:pt>
                <c:pt idx="53">
                  <c:v>0</c:v>
                </c:pt>
                <c:pt idx="54">
                  <c:v>0</c:v>
                </c:pt>
                <c:pt idx="55">
                  <c:v>0</c:v>
                </c:pt>
                <c:pt idx="56">
                  <c:v>0</c:v>
                </c:pt>
                <c:pt idx="57">
                  <c:v>0</c:v>
                </c:pt>
                <c:pt idx="58">
                  <c:v>13</c:v>
                </c:pt>
                <c:pt idx="59">
                  <c:v>1</c:v>
                </c:pt>
                <c:pt idx="60">
                  <c:v>2</c:v>
                </c:pt>
                <c:pt idx="61">
                  <c:v>0</c:v>
                </c:pt>
                <c:pt idx="62">
                  <c:v>0</c:v>
                </c:pt>
                <c:pt idx="63">
                  <c:v>0</c:v>
                </c:pt>
                <c:pt idx="64">
                  <c:v>0</c:v>
                </c:pt>
                <c:pt idx="65">
                  <c:v>0</c:v>
                </c:pt>
                <c:pt idx="66">
                  <c:v>0</c:v>
                </c:pt>
                <c:pt idx="67">
                  <c:v>0</c:v>
                </c:pt>
                <c:pt idx="68">
                  <c:v>0</c:v>
                </c:pt>
                <c:pt idx="69">
                  <c:v>0</c:v>
                </c:pt>
                <c:pt idx="70">
                  <c:v>0</c:v>
                </c:pt>
                <c:pt idx="71">
                  <c:v>0</c:v>
                </c:pt>
                <c:pt idx="72">
                  <c:v>2</c:v>
                </c:pt>
                <c:pt idx="73">
                  <c:v>1</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17-829B-457F-9B60-395118DED5C7}"/>
            </c:ext>
          </c:extLst>
        </c:ser>
        <c:ser>
          <c:idx val="28"/>
          <c:order val="28"/>
          <c:tx>
            <c:strRef>
              <c:f>'epi_curve (2024-2025)'!$V$1</c:f>
              <c:strCache>
                <c:ptCount val="1"/>
                <c:pt idx="0">
                  <c:v>Western Cape cutaneous cases</c:v>
                </c:pt>
              </c:strCache>
            </c:strRef>
          </c:tx>
          <c:spPr>
            <a:pattFill prst="dkHorz">
              <a:fgClr>
                <a:srgbClr val="92D050"/>
              </a:fgClr>
              <a:bgClr>
                <a:schemeClr val="bg1"/>
              </a:bgClr>
            </a:pattFill>
            <a:ln>
              <a:solidFill>
                <a:srgbClr val="92D050"/>
              </a:solidFill>
            </a:ln>
            <a:effectLst/>
          </c:spPr>
          <c:invertIfNegative val="0"/>
          <c:cat>
            <c:multiLvlStrRef>
              <c:f>'epi_curve (2024-2025)'!$A$2:$B$82</c:f>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f>'epi_curve (2024-2025)'!$V$2:$V$81</c:f>
              <c:numCache>
                <c:formatCode>General</c:formatCode>
                <c:ptCount val="80"/>
                <c:pt idx="78">
                  <c:v>1</c:v>
                </c:pt>
              </c:numCache>
            </c:numRef>
          </c:val>
          <c:extLst>
            <c:ext xmlns:c16="http://schemas.microsoft.com/office/drawing/2014/chart" uri="{C3380CC4-5D6E-409C-BE32-E72D297353CC}">
              <c16:uniqueId val="{00000018-829B-457F-9B60-395118DED5C7}"/>
            </c:ext>
          </c:extLst>
        </c:ser>
        <c:ser>
          <c:idx val="29"/>
          <c:order val="29"/>
          <c:tx>
            <c:strRef>
              <c:f>'epi_curve (2024-2025)'!$C$1</c:f>
              <c:strCache>
                <c:ptCount val="1"/>
                <c:pt idx="0">
                  <c:v>Eastern Cape Cutaneous</c:v>
                </c:pt>
              </c:strCache>
            </c:strRef>
          </c:tx>
          <c:spPr>
            <a:pattFill prst="dkHorz">
              <a:fgClr>
                <a:schemeClr val="accent4"/>
              </a:fgClr>
              <a:bgClr>
                <a:schemeClr val="bg1"/>
              </a:bgClr>
            </a:pattFill>
            <a:ln>
              <a:solidFill>
                <a:schemeClr val="accent4"/>
              </a:solidFill>
            </a:ln>
            <a:effectLst/>
          </c:spPr>
          <c:invertIfNegative val="0"/>
          <c:val>
            <c:numRef>
              <c:f>'epi_curve (2024-2025)'!$C$2:$C$82</c:f>
              <c:numCache>
                <c:formatCode>General</c:formatCode>
                <c:ptCount val="81"/>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19-829B-457F-9B60-395118DED5C7}"/>
            </c:ext>
          </c:extLst>
        </c:ser>
        <c:dLbls>
          <c:showLegendKey val="0"/>
          <c:showVal val="0"/>
          <c:showCatName val="0"/>
          <c:showSerName val="0"/>
          <c:showPercent val="0"/>
          <c:showBubbleSize val="0"/>
        </c:dLbls>
        <c:gapWidth val="0"/>
        <c:overlap val="100"/>
        <c:axId val="701321055"/>
        <c:axId val="765692687"/>
        <c:extLst>
          <c:ext xmlns:c15="http://schemas.microsoft.com/office/drawing/2012/chart" uri="{02D57815-91ED-43cb-92C2-25804820EDAC}">
            <c15:filteredBarSeries>
              <c15:ser>
                <c:idx val="0"/>
                <c:order val="0"/>
                <c:tx>
                  <c:strRef>
                    <c:extLst>
                      <c:ext uri="{02D57815-91ED-43cb-92C2-25804820EDAC}">
                        <c15:formulaRef>
                          <c15:sqref>'epi_curve (2024-2025)'!$A$1</c15:sqref>
                        </c15:formulaRef>
                      </c:ext>
                    </c:extLst>
                    <c:strCache>
                      <c:ptCount val="1"/>
                      <c:pt idx="0">
                        <c:v>year</c:v>
                      </c:pt>
                    </c:strCache>
                  </c:strRef>
                </c:tx>
                <c:spPr>
                  <a:solidFill>
                    <a:schemeClr val="accent1"/>
                  </a:solidFill>
                  <a:ln>
                    <a:noFill/>
                  </a:ln>
                  <a:effectLst/>
                </c:spPr>
                <c:invertIfNegative val="0"/>
                <c:cat>
                  <c:multiLvlStrRef>
                    <c:extLst>
                      <c:ex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c:ext uri="{02D57815-91ED-43cb-92C2-25804820EDAC}">
                        <c15:formulaRef>
                          <c15:sqref>'epi_curve (2024-2025)'!$A$2:$A$4</c15:sqref>
                        </c15:formulaRef>
                      </c:ext>
                    </c:extLst>
                    <c:numCache>
                      <c:formatCode>General</c:formatCode>
                      <c:ptCount val="3"/>
                      <c:pt idx="0">
                        <c:v>2024</c:v>
                      </c:pt>
                    </c:numCache>
                  </c:numRef>
                </c:val>
                <c:extLst>
                  <c:ext xmlns:c16="http://schemas.microsoft.com/office/drawing/2014/chart" uri="{C3380CC4-5D6E-409C-BE32-E72D297353CC}">
                    <c16:uniqueId val="{0000001A-829B-457F-9B60-395118DED5C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epi_curve (2024-2025)'!$B$1</c15:sqref>
                        </c15:formulaRef>
                      </c:ext>
                    </c:extLst>
                    <c:strCache>
                      <c:ptCount val="1"/>
                      <c:pt idx="0">
                        <c:v>week</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B$2:$B$58</c15:sqref>
                        </c15:formulaRef>
                      </c:ext>
                    </c:extLst>
                    <c:numCache>
                      <c:formatCode>General</c:formatCode>
                      <c:ptCount val="5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numCache>
                  </c:numRef>
                </c:val>
                <c:extLst xmlns:c15="http://schemas.microsoft.com/office/drawing/2012/chart">
                  <c:ext xmlns:c16="http://schemas.microsoft.com/office/drawing/2014/chart" uri="{C3380CC4-5D6E-409C-BE32-E72D297353CC}">
                    <c16:uniqueId val="{0000001B-829B-457F-9B60-395118DED5C7}"/>
                  </c:ext>
                </c:extLst>
              </c15:ser>
            </c15:filteredBarSeries>
            <c15:filteredBarSeries>
              <c15:ser>
                <c:idx val="4"/>
                <c:order val="2"/>
                <c:tx>
                  <c:strRef>
                    <c:extLst xmlns:c15="http://schemas.microsoft.com/office/drawing/2012/chart">
                      <c:ext xmlns:c15="http://schemas.microsoft.com/office/drawing/2012/chart" uri="{02D57815-91ED-43cb-92C2-25804820EDAC}">
                        <c15:formulaRef>
                          <c15:sqref>'epi_curve (2024-2025)'!$E$1</c15:sqref>
                        </c15:formulaRef>
                      </c:ext>
                    </c:extLst>
                    <c:strCache>
                      <c:ptCount val="1"/>
                      <c:pt idx="0">
                        <c:v>Eastern Cape respiratory cases</c:v>
                      </c:pt>
                    </c:strCache>
                  </c:strRef>
                </c:tx>
                <c:spPr>
                  <a:solidFill>
                    <a:schemeClr val="accent6"/>
                  </a:solidFill>
                  <a:ln>
                    <a:solidFill>
                      <a:schemeClr val="accent6"/>
                    </a:solid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E$2:$E$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C-829B-457F-9B60-395118DED5C7}"/>
                  </c:ext>
                </c:extLst>
              </c15:ser>
            </c15:filteredBarSeries>
            <c15:filteredBarSeries>
              <c15:ser>
                <c:idx val="7"/>
                <c:order val="3"/>
                <c:tx>
                  <c:strRef>
                    <c:extLst xmlns:c15="http://schemas.microsoft.com/office/drawing/2012/chart">
                      <c:ext xmlns:c15="http://schemas.microsoft.com/office/drawing/2012/chart" uri="{02D57815-91ED-43cb-92C2-25804820EDAC}">
                        <c15:formulaRef>
                          <c15:sqref>'epi_curve (2024-2025)'!$G$1</c15:sqref>
                        </c15:formulaRef>
                      </c:ext>
                    </c:extLst>
                    <c:strCache>
                      <c:ptCount val="1"/>
                      <c:pt idx="0">
                        <c:v>Freestate respiratory cases</c:v>
                      </c:pt>
                    </c:strCache>
                  </c:strRef>
                </c:tx>
                <c:spPr>
                  <a:solidFill>
                    <a:schemeClr val="accent2">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G$2:$G$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D-829B-457F-9B60-395118DED5C7}"/>
                  </c:ext>
                </c:extLst>
              </c15:ser>
            </c15:filteredBarSeries>
            <c15:filteredBarSeries>
              <c15:ser>
                <c:idx val="19"/>
                <c:order val="8"/>
                <c:tx>
                  <c:strRef>
                    <c:extLst xmlns:c15="http://schemas.microsoft.com/office/drawing/2012/chart">
                      <c:ext xmlns:c15="http://schemas.microsoft.com/office/drawing/2012/chart" uri="{02D57815-91ED-43cb-92C2-25804820EDAC}">
                        <c15:formulaRef>
                          <c15:sqref>'epi_curve (2024-2025)'!$S$1</c15:sqref>
                        </c15:formulaRef>
                      </c:ext>
                    </c:extLst>
                    <c:strCache>
                      <c:ptCount val="1"/>
                      <c:pt idx="0">
                        <c:v>North West respiratory cases</c:v>
                      </c:pt>
                    </c:strCache>
                  </c:strRef>
                </c:tx>
                <c:spPr>
                  <a:solidFill>
                    <a:schemeClr val="accent2">
                      <a:lumMod val="8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S$2:$S$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E-829B-457F-9B60-395118DED5C7}"/>
                  </c:ext>
                </c:extLst>
              </c15:ser>
            </c15:filteredBarSeries>
            <c15:filteredBarSeries>
              <c15:ser>
                <c:idx val="2"/>
                <c:order val="10"/>
                <c:tx>
                  <c:strRef>
                    <c:extLst xmlns:c15="http://schemas.microsoft.com/office/drawing/2012/chart">
                      <c:ext xmlns:c15="http://schemas.microsoft.com/office/drawing/2012/chart" uri="{02D57815-91ED-43cb-92C2-25804820EDAC}">
                        <c15:formulaRef>
                          <c15:sqref>'epi_curve (2024-2025)'!$D$1</c15:sqref>
                        </c15:formulaRef>
                      </c:ext>
                    </c:extLst>
                    <c:strCache>
                      <c:ptCount val="1"/>
                      <c:pt idx="0">
                        <c:v>Eastern Cape asymptomatic carriers</c:v>
                      </c:pt>
                    </c:strCache>
                  </c:strRef>
                </c:tx>
                <c:spPr>
                  <a:solidFill>
                    <a:schemeClr val="accent3"/>
                  </a:solidFill>
                  <a:ln>
                    <a:solidFill>
                      <a:schemeClr val="accent3"/>
                    </a:solid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D$2:$D$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F-829B-457F-9B60-395118DED5C7}"/>
                  </c:ext>
                </c:extLst>
              </c15:ser>
            </c15:filteredBarSeries>
            <c15:filteredBarSeries>
              <c15:ser>
                <c:idx val="5"/>
                <c:order val="16"/>
                <c:tx>
                  <c:strRef>
                    <c:extLst xmlns:c15="http://schemas.microsoft.com/office/drawing/2012/chart">
                      <c:ext xmlns:c15="http://schemas.microsoft.com/office/drawing/2012/chart" uri="{02D57815-91ED-43cb-92C2-25804820EDAC}">
                        <c15:formulaRef>
                          <c15:sqref>'epi_curve (2024-2025)'!$F$1</c15:sqref>
                        </c15:formulaRef>
                      </c:ext>
                    </c:extLst>
                    <c:strCache>
                      <c:ptCount val="1"/>
                      <c:pt idx="0">
                        <c:v>Freestate asymptomatic carriers</c:v>
                      </c:pt>
                    </c:strCache>
                  </c:strRef>
                </c:tx>
                <c:spPr>
                  <a:pattFill prst="wdDnDiag">
                    <a:fgClr>
                      <a:schemeClr val="accent3"/>
                    </a:fgClr>
                    <a:bgClr>
                      <a:schemeClr val="bg1"/>
                    </a:bgClr>
                  </a:pattFill>
                  <a:ln>
                    <a:solidFill>
                      <a:schemeClr val="accent3"/>
                    </a:solid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F$2:$F$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20-829B-457F-9B60-395118DED5C7}"/>
                  </c:ext>
                </c:extLst>
              </c15:ser>
            </c15:filteredBarSeries>
            <c15:filteredBarSeries>
              <c15:ser>
                <c:idx val="17"/>
                <c:order val="18"/>
                <c:tx>
                  <c:strRef>
                    <c:extLst xmlns:c15="http://schemas.microsoft.com/office/drawing/2012/chart">
                      <c:ext xmlns:c15="http://schemas.microsoft.com/office/drawing/2012/chart" uri="{02D57815-91ED-43cb-92C2-25804820EDAC}">
                        <c15:formulaRef>
                          <c15:sqref>'epi_curve (2024-2025)'!$R$1</c15:sqref>
                        </c15:formulaRef>
                      </c:ext>
                    </c:extLst>
                    <c:strCache>
                      <c:ptCount val="1"/>
                      <c:pt idx="0">
                        <c:v>North West asymptomatic carriers</c:v>
                      </c:pt>
                    </c:strCache>
                  </c:strRef>
                </c:tx>
                <c:spPr>
                  <a:solidFill>
                    <a:schemeClr val="accent6">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R$2:$R$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21-829B-457F-9B60-395118DED5C7}"/>
                  </c:ext>
                </c:extLst>
              </c15:ser>
            </c15:filteredBarSeries>
            <c15:filteredBarSeries>
              <c15:ser>
                <c:idx val="3"/>
                <c:order val="20"/>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1"/>
                  </a:solidFill>
                  <a:ln>
                    <a:solidFill>
                      <a:schemeClr val="accent1"/>
                    </a:solid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2-829B-457F-9B60-395118DED5C7}"/>
                  </c:ext>
                </c:extLst>
              </c15:ser>
            </c15:filteredBarSeries>
            <c15:filteredBarSeries>
              <c15:ser>
                <c:idx val="6"/>
                <c:order val="21"/>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pattFill prst="wdDnDiag">
                    <a:fgClr>
                      <a:schemeClr val="accent1"/>
                    </a:fgClr>
                    <a:bgClr>
                      <a:schemeClr val="bg1"/>
                    </a:bgClr>
                  </a:pattFill>
                  <a:ln>
                    <a:solidFill>
                      <a:schemeClr val="accent1"/>
                    </a:solid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3-829B-457F-9B60-395118DED5C7}"/>
                  </c:ext>
                </c:extLst>
              </c15:ser>
            </c15:filteredBarSeries>
            <c15:filteredBarSeries>
              <c15:ser>
                <c:idx val="9"/>
                <c:order val="22"/>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4">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4-829B-457F-9B60-395118DED5C7}"/>
                  </c:ext>
                </c:extLst>
              </c15:ser>
            </c15:filteredBarSeries>
            <c15:filteredBarSeries>
              <c15:ser>
                <c:idx val="12"/>
                <c:order val="23"/>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1">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5-829B-457F-9B60-395118DED5C7}"/>
                  </c:ext>
                </c:extLst>
              </c15:ser>
            </c15:filteredBarSeries>
            <c15:filteredBarSeries>
              <c15:ser>
                <c:idx val="15"/>
                <c:order val="24"/>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4">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6-829B-457F-9B60-395118DED5C7}"/>
                  </c:ext>
                </c:extLst>
              </c15:ser>
            </c15:filteredBarSeries>
            <c15:filteredBarSeries>
              <c15:ser>
                <c:idx val="18"/>
                <c:order val="25"/>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1">
                      <a:lumMod val="8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7-829B-457F-9B60-395118DED5C7}"/>
                  </c:ext>
                </c:extLst>
              </c15:ser>
            </c15:filteredBarSeries>
            <c15:filteredBarSeries>
              <c15:ser>
                <c:idx val="21"/>
                <c:order val="26"/>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4">
                      <a:lumMod val="8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8-829B-457F-9B60-395118DED5C7}"/>
                  </c:ext>
                </c:extLst>
              </c15:ser>
            </c15:filteredBarSeries>
            <c15:filteredBarSeries>
              <c15:ser>
                <c:idx val="26"/>
                <c:order val="27"/>
                <c:tx>
                  <c:strRef>
                    <c:extLst xmlns:c15="http://schemas.microsoft.com/office/drawing/2012/chart">
                      <c:ext xmlns:c15="http://schemas.microsoft.com/office/drawing/2012/chart" uri="{02D57815-91ED-43cb-92C2-25804820EDAC}">
                        <c15:formulaRef>
                          <c15:sqref>'epi_curve (2024-2025)'!#REF!</c15:sqref>
                        </c15:formulaRef>
                      </c:ext>
                    </c:extLst>
                    <c:strCache>
                      <c:ptCount val="1"/>
                      <c:pt idx="0">
                        <c:v>#REF!</c:v>
                      </c:pt>
                    </c:strCache>
                  </c:strRef>
                </c:tx>
                <c:spPr>
                  <a:pattFill prst="wdDnDiag">
                    <a:fgClr>
                      <a:schemeClr val="accent6"/>
                    </a:fgClr>
                    <a:bgClr>
                      <a:schemeClr val="bg1"/>
                    </a:bgClr>
                  </a:pattFill>
                  <a:ln>
                    <a:solidFill>
                      <a:schemeClr val="accent6"/>
                    </a:solidFill>
                  </a:ln>
                  <a:effectLst/>
                </c:spPr>
                <c:invertIfNegative val="0"/>
                <c:cat>
                  <c:multiLvlStrRef>
                    <c:extLst xmlns:c15="http://schemas.microsoft.com/office/drawing/2012/chart">
                      <c:ext xmlns:c15="http://schemas.microsoft.com/office/drawing/2012/chart" uri="{02D57815-91ED-43cb-92C2-25804820EDAC}">
                        <c15:formulaRef>
                          <c15:sqref>'epi_curve (2024-2025)'!$A$2:$B$82</c15:sqref>
                        </c15:formulaRef>
                      </c:ext>
                    </c:extLst>
                    <c:multiLvlStrCache>
                      <c:ptCount val="8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pt idx="61">
                          <c:v>10</c:v>
                        </c:pt>
                        <c:pt idx="62">
                          <c:v>11</c:v>
                        </c:pt>
                        <c:pt idx="63">
                          <c:v>12</c:v>
                        </c:pt>
                        <c:pt idx="64">
                          <c:v>13</c:v>
                        </c:pt>
                        <c:pt idx="65">
                          <c:v>14</c:v>
                        </c:pt>
                        <c:pt idx="66">
                          <c:v>15</c:v>
                        </c:pt>
                        <c:pt idx="67">
                          <c:v>16</c:v>
                        </c:pt>
                        <c:pt idx="68">
                          <c:v>17</c:v>
                        </c:pt>
                        <c:pt idx="69">
                          <c:v>18</c:v>
                        </c:pt>
                        <c:pt idx="70">
                          <c:v>19</c:v>
                        </c:pt>
                        <c:pt idx="71">
                          <c:v>20</c:v>
                        </c:pt>
                        <c:pt idx="72">
                          <c:v>21</c:v>
                        </c:pt>
                        <c:pt idx="73">
                          <c:v>22</c:v>
                        </c:pt>
                        <c:pt idx="74">
                          <c:v>23</c:v>
                        </c:pt>
                        <c:pt idx="75">
                          <c:v>24</c:v>
                        </c:pt>
                        <c:pt idx="76">
                          <c:v>25</c:v>
                        </c:pt>
                        <c:pt idx="77">
                          <c:v>26</c:v>
                        </c:pt>
                        <c:pt idx="78">
                          <c:v>27</c:v>
                        </c:pt>
                        <c:pt idx="79">
                          <c:v>28</c:v>
                        </c:pt>
                        <c:pt idx="80">
                          <c:v>29</c:v>
                        </c:pt>
                      </c:lvl>
                      <c:lvl>
                        <c:pt idx="0">
                          <c:v>2024</c:v>
                        </c:pt>
                        <c:pt idx="52">
                          <c:v>2025</c:v>
                        </c:pt>
                      </c:lvl>
                    </c:multiLvlStrCache>
                  </c:multiLvlStrRef>
                </c:cat>
                <c:val>
                  <c:numRef>
                    <c:extLst xmlns:c15="http://schemas.microsoft.com/office/drawing/2012/chart">
                      <c:ext xmlns:c15="http://schemas.microsoft.com/office/drawing/2012/chart" uri="{02D57815-91ED-43cb-92C2-25804820EDAC}">
                        <c15:formulaRef>
                          <c15:sqref>'epi_curve (2024-2025)'!#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9-829B-457F-9B60-395118DED5C7}"/>
                  </c:ext>
                </c:extLst>
              </c15:ser>
            </c15:filteredBarSeries>
            <c15:filteredBarSeries>
              <c15:ser>
                <c:idx val="30"/>
                <c:order val="30"/>
                <c:tx>
                  <c:strRef>
                    <c:extLst xmlns:c15="http://schemas.microsoft.com/office/drawing/2012/chart">
                      <c:ext xmlns:c15="http://schemas.microsoft.com/office/drawing/2012/chart" uri="{02D57815-91ED-43cb-92C2-25804820EDAC}">
                        <c15:formulaRef>
                          <c15:sqref>'epi_curve (2024-2025)'!#REF!</c15:sqref>
                        </c15:formulaRef>
                      </c:ext>
                    </c:extLst>
                    <c:strCache>
                      <c:ptCount val="1"/>
                      <c:pt idx="0">
                        <c:v>#REF!</c:v>
                      </c:pt>
                    </c:strCache>
                  </c:strRef>
                </c:tx>
                <c:spPr>
                  <a:pattFill prst="dkHorz">
                    <a:fgClr>
                      <a:srgbClr val="92D050"/>
                    </a:fgClr>
                    <a:bgClr>
                      <a:schemeClr val="bg1"/>
                    </a:bgClr>
                  </a:pattFill>
                  <a:ln>
                    <a:solidFill>
                      <a:srgbClr val="92D050"/>
                    </a:solidFill>
                  </a:ln>
                  <a:effectLst/>
                </c:spPr>
                <c:invertIfNegative val="0"/>
                <c:val>
                  <c:numRef>
                    <c:extLst xmlns:c15="http://schemas.microsoft.com/office/drawing/2012/chart">
                      <c:ext xmlns:c15="http://schemas.microsoft.com/office/drawing/2012/chart" uri="{02D57815-91ED-43cb-92C2-25804820EDAC}">
                        <c15:formulaRef>
                          <c15:sqref>'epi_curve (2024-2025)'!#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A-829B-457F-9B60-395118DED5C7}"/>
                  </c:ext>
                </c:extLst>
              </c15:ser>
            </c15:filteredBarSeries>
          </c:ext>
        </c:extLst>
      </c:barChart>
      <c:catAx>
        <c:axId val="701321055"/>
        <c:scaling>
          <c:orientation val="minMax"/>
        </c:scaling>
        <c:delete val="0"/>
        <c:axPos val="b"/>
        <c:title>
          <c:tx>
            <c:rich>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r>
                  <a:rPr lang="en-US"/>
                  <a:t>Year and epidemiologic week</a:t>
                </a:r>
              </a:p>
            </c:rich>
          </c:tx>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Arial" panose="020B0604020202020204" pitchFamily="34" charset="0"/>
              </a:defRPr>
            </a:pPr>
            <a:endParaRPr lang="en-US"/>
          </a:p>
        </c:txPr>
        <c:crossAx val="765692687"/>
        <c:crosses val="autoZero"/>
        <c:auto val="1"/>
        <c:lblAlgn val="ctr"/>
        <c:lblOffset val="100"/>
        <c:noMultiLvlLbl val="0"/>
      </c:catAx>
      <c:valAx>
        <c:axId val="765692687"/>
        <c:scaling>
          <c:orientation val="minMax"/>
        </c:scaling>
        <c:delete val="0"/>
        <c:axPos val="l"/>
        <c:title>
          <c:tx>
            <c:rich>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r>
                  <a:rPr lang="en-US"/>
                  <a:t>Number</a:t>
                </a:r>
              </a:p>
            </c:rich>
          </c:tx>
          <c:layout/>
          <c:overlay val="0"/>
          <c:spPr>
            <a:noFill/>
            <a:ln>
              <a:noFill/>
            </a:ln>
            <a:effectLst/>
          </c:spPr>
          <c:txPr>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Arial" panose="020B0604020202020204" pitchFamily="34" charset="0"/>
              </a:defRPr>
            </a:pPr>
            <a:endParaRPr lang="en-US"/>
          </a:p>
        </c:txPr>
        <c:crossAx val="701321055"/>
        <c:crosses val="autoZero"/>
        <c:crossBetween val="between"/>
        <c:majorUnit val="1"/>
      </c:valAx>
      <c:spPr>
        <a:noFill/>
        <a:ln>
          <a:noFill/>
        </a:ln>
        <a:effectLst/>
      </c:spPr>
    </c:plotArea>
    <c:legend>
      <c:legendPos val="t"/>
      <c:layout>
        <c:manualLayout>
          <c:xMode val="edge"/>
          <c:yMode val="edge"/>
          <c:x val="2.8456629550333609E-2"/>
          <c:y val="0.75156331529928588"/>
          <c:w val="0.9087754265091863"/>
          <c:h val="0.20975679174041198"/>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baseline="0">
          <a:solidFill>
            <a:sysClr val="windowText" lastClr="000000"/>
          </a:solidFill>
          <a:latin typeface="+mn-lt"/>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3241023762906202E-2"/>
          <c:y val="2.3694059118512502E-2"/>
          <c:w val="0.91677564454711502"/>
          <c:h val="0.73348245304446102"/>
        </c:manualLayout>
      </c:layout>
      <c:barChart>
        <c:barDir val="col"/>
        <c:grouping val="stacked"/>
        <c:varyColors val="0"/>
        <c:ser>
          <c:idx val="13"/>
          <c:order val="7"/>
          <c:tx>
            <c:strRef>
              <c:f>'epi_curve (2015-2023)'!$K$1</c:f>
              <c:strCache>
                <c:ptCount val="1"/>
                <c:pt idx="0">
                  <c:v>KwaZulu Natal respiratory cases</c:v>
                </c:pt>
              </c:strCache>
            </c:strRef>
          </c:tx>
          <c:spPr>
            <a:solidFill>
              <a:schemeClr val="accent6"/>
            </a:solidFill>
            <a:ln>
              <a:solidFill>
                <a:srgbClr val="F79646"/>
              </a:solidFill>
            </a:ln>
            <a:effectLst/>
          </c:spPr>
          <c:invertIfNegative val="0"/>
          <c:dPt>
            <c:idx val="23"/>
            <c:invertIfNegative val="0"/>
            <c:bubble3D val="0"/>
            <c:spPr>
              <a:solidFill>
                <a:schemeClr val="accent6"/>
              </a:solidFill>
              <a:ln>
                <a:solidFill>
                  <a:srgbClr val="F79646"/>
                </a:solidFill>
              </a:ln>
              <a:effectLst/>
            </c:spPr>
            <c:extLst>
              <c:ext xmlns:c16="http://schemas.microsoft.com/office/drawing/2014/chart" uri="{C3380CC4-5D6E-409C-BE32-E72D297353CC}">
                <c16:uniqueId val="{00000001-3D9A-4307-8E61-6CCF461E4D3E}"/>
              </c:ext>
            </c:extLst>
          </c:dPt>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K$2:$K$109</c:f>
              <c:numCache>
                <c:formatCode>General</c:formatCode>
                <c:ptCount val="108"/>
                <c:pt idx="0">
                  <c:v>0</c:v>
                </c:pt>
                <c:pt idx="1">
                  <c:v>0</c:v>
                </c:pt>
                <c:pt idx="2">
                  <c:v>3</c:v>
                </c:pt>
                <c:pt idx="3">
                  <c:v>1</c:v>
                </c:pt>
                <c:pt idx="4">
                  <c:v>5</c:v>
                </c:pt>
                <c:pt idx="5">
                  <c:v>2</c:v>
                </c:pt>
                <c:pt idx="6">
                  <c:v>0</c:v>
                </c:pt>
                <c:pt idx="7">
                  <c:v>0</c:v>
                </c:pt>
                <c:pt idx="8">
                  <c:v>0</c:v>
                </c:pt>
                <c:pt idx="9">
                  <c:v>0</c:v>
                </c:pt>
                <c:pt idx="10">
                  <c:v>0</c:v>
                </c:pt>
                <c:pt idx="11">
                  <c:v>0</c:v>
                </c:pt>
                <c:pt idx="12">
                  <c:v>0</c:v>
                </c:pt>
                <c:pt idx="13">
                  <c:v>0</c:v>
                </c:pt>
                <c:pt idx="14">
                  <c:v>0</c:v>
                </c:pt>
                <c:pt idx="15">
                  <c:v>0</c:v>
                </c:pt>
                <c:pt idx="16">
                  <c:v>2</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2</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1</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1</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2-3D9A-4307-8E61-6CCF461E4D3E}"/>
            </c:ext>
          </c:extLst>
        </c:ser>
        <c:ser>
          <c:idx val="11"/>
          <c:order val="8"/>
          <c:tx>
            <c:strRef>
              <c:f>'epi_curve (2015-2023)'!$J$1</c:f>
              <c:strCache>
                <c:ptCount val="1"/>
                <c:pt idx="0">
                  <c:v>KwaZulu Natal asymptomatic carriers</c:v>
                </c:pt>
              </c:strCache>
            </c:strRef>
          </c:tx>
          <c:spPr>
            <a:pattFill prst="wdDnDiag">
              <a:fgClr>
                <a:schemeClr val="accent6"/>
              </a:fgClr>
              <a:bgClr>
                <a:schemeClr val="bg1"/>
              </a:bgClr>
            </a:pattFill>
            <a:ln>
              <a:solidFill>
                <a:schemeClr val="accent6"/>
              </a:solidFill>
            </a:ln>
            <a:effectLst/>
          </c:spPr>
          <c:invertIfNegative val="0"/>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J$2:$J$109</c:f>
              <c:numCache>
                <c:formatCode>General</c:formatCode>
                <c:ptCount val="108"/>
                <c:pt idx="0">
                  <c:v>0</c:v>
                </c:pt>
                <c:pt idx="1">
                  <c:v>0</c:v>
                </c:pt>
                <c:pt idx="2">
                  <c:v>0</c:v>
                </c:pt>
                <c:pt idx="3">
                  <c:v>2</c:v>
                </c:pt>
                <c:pt idx="4">
                  <c:v>1</c:v>
                </c:pt>
                <c:pt idx="5">
                  <c:v>3</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3-3D9A-4307-8E61-6CCF461E4D3E}"/>
            </c:ext>
          </c:extLst>
        </c:ser>
        <c:ser>
          <c:idx val="26"/>
          <c:order val="9"/>
          <c:tx>
            <c:strRef>
              <c:f>'epi_curve (2015-2023)'!$L$1</c:f>
              <c:strCache>
                <c:ptCount val="1"/>
                <c:pt idx="0">
                  <c:v>KwaZulu Natal cutaneous</c:v>
                </c:pt>
              </c:strCache>
            </c:strRef>
          </c:tx>
          <c:spPr>
            <a:pattFill prst="dkHorz">
              <a:fgClr>
                <a:schemeClr val="accent6"/>
              </a:fgClr>
              <a:bgClr>
                <a:schemeClr val="bg1"/>
              </a:bgClr>
            </a:pattFill>
            <a:ln>
              <a:solidFill>
                <a:schemeClr val="accent6"/>
              </a:solidFill>
            </a:ln>
            <a:effectLst/>
          </c:spPr>
          <c:invertIfNegative val="0"/>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L$2:$L$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1</c:v>
                </c:pt>
                <c:pt idx="104">
                  <c:v>0</c:v>
                </c:pt>
                <c:pt idx="105">
                  <c:v>0</c:v>
                </c:pt>
                <c:pt idx="106">
                  <c:v>0</c:v>
                </c:pt>
                <c:pt idx="107">
                  <c:v>0</c:v>
                </c:pt>
              </c:numCache>
            </c:numRef>
          </c:val>
          <c:extLst xmlns:c15="http://schemas.microsoft.com/office/drawing/2012/chart">
            <c:ext xmlns:c16="http://schemas.microsoft.com/office/drawing/2014/chart" uri="{C3380CC4-5D6E-409C-BE32-E72D297353CC}">
              <c16:uniqueId val="{00000004-3D9A-4307-8E61-6CCF461E4D3E}"/>
            </c:ext>
          </c:extLst>
        </c:ser>
        <c:ser>
          <c:idx val="22"/>
          <c:order val="11"/>
          <c:tx>
            <c:strRef>
              <c:f>'epi_curve (2015-2023)'!$U$1</c:f>
              <c:strCache>
                <c:ptCount val="1"/>
                <c:pt idx="0">
                  <c:v>Western Cape respiratory cases</c:v>
                </c:pt>
              </c:strCache>
            </c:strRef>
          </c:tx>
          <c:spPr>
            <a:solidFill>
              <a:srgbClr val="92D050"/>
            </a:solidFill>
            <a:ln>
              <a:solidFill>
                <a:srgbClr val="92D050"/>
              </a:solidFill>
            </a:ln>
            <a:effectLst/>
          </c:spPr>
          <c:invertIfNegative val="0"/>
          <c:dPt>
            <c:idx val="53"/>
            <c:invertIfNegative val="0"/>
            <c:bubble3D val="0"/>
            <c:spPr>
              <a:solidFill>
                <a:srgbClr val="92D050"/>
              </a:solidFill>
              <a:ln>
                <a:noFill/>
              </a:ln>
              <a:effectLst/>
            </c:spPr>
            <c:extLst>
              <c:ext xmlns:c16="http://schemas.microsoft.com/office/drawing/2014/chart" uri="{C3380CC4-5D6E-409C-BE32-E72D297353CC}">
                <c16:uniqueId val="{00000006-3D9A-4307-8E61-6CCF461E4D3E}"/>
              </c:ext>
            </c:extLst>
          </c:dPt>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U$2:$U$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4</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1</c:v>
                </c:pt>
                <c:pt idx="100">
                  <c:v>0</c:v>
                </c:pt>
                <c:pt idx="101">
                  <c:v>0</c:v>
                </c:pt>
                <c:pt idx="102">
                  <c:v>0</c:v>
                </c:pt>
                <c:pt idx="103">
                  <c:v>0</c:v>
                </c:pt>
                <c:pt idx="104">
                  <c:v>1</c:v>
                </c:pt>
                <c:pt idx="105">
                  <c:v>1</c:v>
                </c:pt>
                <c:pt idx="106">
                  <c:v>2</c:v>
                </c:pt>
                <c:pt idx="107">
                  <c:v>0</c:v>
                </c:pt>
              </c:numCache>
            </c:numRef>
          </c:val>
          <c:extLst>
            <c:ext xmlns:c16="http://schemas.microsoft.com/office/drawing/2014/chart" uri="{C3380CC4-5D6E-409C-BE32-E72D297353CC}">
              <c16:uniqueId val="{00000007-3D9A-4307-8E61-6CCF461E4D3E}"/>
            </c:ext>
          </c:extLst>
        </c:ser>
        <c:ser>
          <c:idx val="27"/>
          <c:order val="13"/>
          <c:tx>
            <c:strRef>
              <c:f>'epi_curve (2015-2023)'!$I$1</c:f>
              <c:strCache>
                <c:ptCount val="1"/>
                <c:pt idx="0">
                  <c:v>Gauteng cutaneous cases</c:v>
                </c:pt>
              </c:strCache>
              <c:extLst xmlns:c15="http://schemas.microsoft.com/office/drawing/2012/chart"/>
            </c:strRef>
          </c:tx>
          <c:spPr>
            <a:pattFill prst="dkHorz">
              <a:fgClr>
                <a:srgbClr val="276A7C"/>
              </a:fgClr>
              <a:bgClr>
                <a:schemeClr val="bg1"/>
              </a:bgClr>
            </a:pattFill>
            <a:ln>
              <a:solidFill>
                <a:srgbClr val="276A7C"/>
              </a:solidFill>
            </a:ln>
            <a:effectLst/>
          </c:spPr>
          <c:invertIfNegative val="0"/>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extLst xmlns:c15="http://schemas.microsoft.com/office/drawing/2012/chart"/>
            </c:multiLvlStrRef>
          </c:cat>
          <c:val>
            <c:numRef>
              <c:f>'epi_curve (2015-2023)'!$I$2:$I$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xmlns:c15="http://schemas.microsoft.com/office/drawing/2012/chart">
            <c:ext xmlns:c16="http://schemas.microsoft.com/office/drawing/2014/chart" uri="{C3380CC4-5D6E-409C-BE32-E72D297353CC}">
              <c16:uniqueId val="{00000008-3D9A-4307-8E61-6CCF461E4D3E}"/>
            </c:ext>
          </c:extLst>
        </c:ser>
        <c:ser>
          <c:idx val="20"/>
          <c:order val="19"/>
          <c:tx>
            <c:strRef>
              <c:f>'epi_curve (2015-2023)'!$T$1</c:f>
              <c:strCache>
                <c:ptCount val="1"/>
                <c:pt idx="0">
                  <c:v>Western Cape asymptomatic carriers</c:v>
                </c:pt>
              </c:strCache>
            </c:strRef>
          </c:tx>
          <c:spPr>
            <a:pattFill prst="wdDnDiag">
              <a:fgClr>
                <a:srgbClr val="92D050"/>
              </a:fgClr>
              <a:bgClr>
                <a:schemeClr val="bg1"/>
              </a:bgClr>
            </a:pattFill>
            <a:ln>
              <a:solidFill>
                <a:srgbClr val="92D050"/>
              </a:solidFill>
            </a:ln>
            <a:effectLst/>
          </c:spPr>
          <c:invertIfNegative val="0"/>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T$2:$T$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1</c:v>
                </c:pt>
                <c:pt idx="100">
                  <c:v>0</c:v>
                </c:pt>
                <c:pt idx="101">
                  <c:v>0</c:v>
                </c:pt>
                <c:pt idx="102">
                  <c:v>0</c:v>
                </c:pt>
                <c:pt idx="103">
                  <c:v>0</c:v>
                </c:pt>
                <c:pt idx="104">
                  <c:v>0</c:v>
                </c:pt>
                <c:pt idx="105">
                  <c:v>0</c:v>
                </c:pt>
                <c:pt idx="106">
                  <c:v>6</c:v>
                </c:pt>
                <c:pt idx="107">
                  <c:v>0</c:v>
                </c:pt>
              </c:numCache>
            </c:numRef>
          </c:val>
          <c:extLst>
            <c:ext xmlns:c16="http://schemas.microsoft.com/office/drawing/2014/chart" uri="{C3380CC4-5D6E-409C-BE32-E72D297353CC}">
              <c16:uniqueId val="{00000009-3D9A-4307-8E61-6CCF461E4D3E}"/>
            </c:ext>
          </c:extLst>
        </c:ser>
        <c:ser>
          <c:idx val="28"/>
          <c:order val="27"/>
          <c:tx>
            <c:strRef>
              <c:f>'epi_curve (2015-2023)'!$V$1</c:f>
              <c:strCache>
                <c:ptCount val="1"/>
                <c:pt idx="0">
                  <c:v>Western Cape cutaneous cases</c:v>
                </c:pt>
              </c:strCache>
            </c:strRef>
          </c:tx>
          <c:spPr>
            <a:pattFill prst="dkHorz">
              <a:fgClr>
                <a:srgbClr val="92D050"/>
              </a:fgClr>
              <a:bgClr>
                <a:schemeClr val="bg1"/>
              </a:bgClr>
            </a:pattFill>
            <a:ln>
              <a:solidFill>
                <a:srgbClr val="92D050"/>
              </a:solidFill>
            </a:ln>
            <a:effectLst/>
          </c:spPr>
          <c:invertIfNegative val="0"/>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V$2:$V$81</c:f>
              <c:numCache>
                <c:formatCode>General</c:formatCode>
                <c:ptCount val="8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numCache>
            </c:numRef>
          </c:val>
          <c:extLst>
            <c:ext xmlns:c16="http://schemas.microsoft.com/office/drawing/2014/chart" uri="{C3380CC4-5D6E-409C-BE32-E72D297353CC}">
              <c16:uniqueId val="{0000000A-3D9A-4307-8E61-6CCF461E4D3E}"/>
            </c:ext>
          </c:extLst>
        </c:ser>
        <c:ser>
          <c:idx val="29"/>
          <c:order val="28"/>
          <c:tx>
            <c:strRef>
              <c:f>'epi_curve (2015-2023)'!$C$1</c:f>
              <c:strCache>
                <c:ptCount val="1"/>
                <c:pt idx="0">
                  <c:v>Eastern Cape Cutaneous</c:v>
                </c:pt>
              </c:strCache>
            </c:strRef>
          </c:tx>
          <c:spPr>
            <a:pattFill prst="dkHorz">
              <a:fgClr>
                <a:schemeClr val="accent4"/>
              </a:fgClr>
              <a:bgClr>
                <a:schemeClr val="bg1"/>
              </a:bgClr>
            </a:pattFill>
            <a:ln>
              <a:solidFill>
                <a:schemeClr val="accent4"/>
              </a:solidFill>
            </a:ln>
            <a:effectLst/>
          </c:spPr>
          <c:invertIfNegative val="0"/>
          <c:cat>
            <c:multiLvlStrRef>
              <c:f>'epi_curve (2015-2023)'!$A$2:$B$109</c:f>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f>'epi_curve (2015-2023)'!$C$2:$C$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1</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B-3D9A-4307-8E61-6CCF461E4D3E}"/>
            </c:ext>
          </c:extLst>
        </c:ser>
        <c:dLbls>
          <c:showLegendKey val="0"/>
          <c:showVal val="0"/>
          <c:showCatName val="0"/>
          <c:showSerName val="0"/>
          <c:showPercent val="0"/>
          <c:showBubbleSize val="0"/>
        </c:dLbls>
        <c:gapWidth val="0"/>
        <c:overlap val="100"/>
        <c:axId val="701321055"/>
        <c:axId val="765692687"/>
        <c:extLst>
          <c:ext xmlns:c15="http://schemas.microsoft.com/office/drawing/2012/chart" uri="{02D57815-91ED-43cb-92C2-25804820EDAC}">
            <c15:filteredBarSeries>
              <c15:ser>
                <c:idx val="0"/>
                <c:order val="0"/>
                <c:tx>
                  <c:strRef>
                    <c:extLst>
                      <c:ext uri="{02D57815-91ED-43cb-92C2-25804820EDAC}">
                        <c15:formulaRef>
                          <c15:sqref>'epi_curve (2015-2023)'!$A$1</c15:sqref>
                        </c15:formulaRef>
                      </c:ext>
                    </c:extLst>
                    <c:strCache>
                      <c:ptCount val="1"/>
                      <c:pt idx="0">
                        <c:v>year</c:v>
                      </c:pt>
                    </c:strCache>
                  </c:strRef>
                </c:tx>
                <c:spPr>
                  <a:solidFill>
                    <a:schemeClr val="accent1"/>
                  </a:solidFill>
                  <a:ln>
                    <a:noFill/>
                  </a:ln>
                  <a:effectLst/>
                </c:spPr>
                <c:invertIfNegative val="0"/>
                <c:cat>
                  <c:multiLvlStrRef>
                    <c:extLst>
                      <c:ex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c:ext uri="{02D57815-91ED-43cb-92C2-25804820EDAC}">
                        <c15:formulaRef>
                          <c15:sqref>'epi_curve (2015-2023)'!$A$2:$A$4</c15:sqref>
                        </c15:formulaRef>
                      </c:ext>
                    </c:extLst>
                    <c:numCache>
                      <c:formatCode>General</c:formatCode>
                      <c:ptCount val="3"/>
                      <c:pt idx="0">
                        <c:v>2015</c:v>
                      </c:pt>
                    </c:numCache>
                  </c:numRef>
                </c:val>
                <c:extLst>
                  <c:ext xmlns:c16="http://schemas.microsoft.com/office/drawing/2014/chart" uri="{C3380CC4-5D6E-409C-BE32-E72D297353CC}">
                    <c16:uniqueId val="{0000000C-3D9A-4307-8E61-6CCF461E4D3E}"/>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epi_curve (2015-2023)'!$B$1</c15:sqref>
                        </c15:formulaRef>
                      </c:ext>
                    </c:extLst>
                    <c:strCache>
                      <c:ptCount val="1"/>
                      <c:pt idx="0">
                        <c:v>month</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B$2:$B$58</c15:sqref>
                        </c15:formulaRef>
                      </c:ext>
                    </c:extLst>
                    <c:numCache>
                      <c:formatCode>General</c:formatCode>
                      <c:ptCount val="5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numCache>
                  </c:numRef>
                </c:val>
                <c:extLst xmlns:c15="http://schemas.microsoft.com/office/drawing/2012/chart">
                  <c:ext xmlns:c16="http://schemas.microsoft.com/office/drawing/2014/chart" uri="{C3380CC4-5D6E-409C-BE32-E72D297353CC}">
                    <c16:uniqueId val="{0000000D-3D9A-4307-8E61-6CCF461E4D3E}"/>
                  </c:ext>
                </c:extLst>
              </c15:ser>
            </c15:filteredBarSeries>
            <c15:filteredBarSeries>
              <c15:ser>
                <c:idx val="4"/>
                <c:order val="2"/>
                <c:tx>
                  <c:strRef>
                    <c:extLst xmlns:c15="http://schemas.microsoft.com/office/drawing/2012/chart">
                      <c:ext xmlns:c15="http://schemas.microsoft.com/office/drawing/2012/chart" uri="{02D57815-91ED-43cb-92C2-25804820EDAC}">
                        <c15:formulaRef>
                          <c15:sqref>'epi_curve (2015-2023)'!$D$1</c15:sqref>
                        </c15:formulaRef>
                      </c:ext>
                    </c:extLst>
                    <c:strCache>
                      <c:ptCount val="1"/>
                      <c:pt idx="0">
                        <c:v>Eastern Cape respiratory cases</c:v>
                      </c:pt>
                    </c:strCache>
                  </c:strRef>
                </c:tx>
                <c:spPr>
                  <a:solidFill>
                    <a:schemeClr val="accent6"/>
                  </a:solidFill>
                  <a:ln>
                    <a:solidFill>
                      <a:schemeClr val="accent6"/>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D$2:$D$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0E-3D9A-4307-8E61-6CCF461E4D3E}"/>
                  </c:ext>
                </c:extLst>
              </c15:ser>
            </c15:filteredBarSeries>
            <c15:filteredBarSeries>
              <c15:ser>
                <c:idx val="7"/>
                <c:order val="3"/>
                <c:tx>
                  <c:strRef>
                    <c:extLst xmlns:c15="http://schemas.microsoft.com/office/drawing/2012/chart">
                      <c:ext xmlns:c15="http://schemas.microsoft.com/office/drawing/2012/chart" uri="{02D57815-91ED-43cb-92C2-25804820EDAC}">
                        <c15:formulaRef>
                          <c15:sqref>'epi_curve (2015-2023)'!$F$1</c15:sqref>
                        </c15:formulaRef>
                      </c:ext>
                    </c:extLst>
                    <c:strCache>
                      <c:ptCount val="1"/>
                      <c:pt idx="0">
                        <c:v>Freestate respiratory cases</c:v>
                      </c:pt>
                    </c:strCache>
                  </c:strRef>
                </c:tx>
                <c:spPr>
                  <a:solidFill>
                    <a:schemeClr val="accent2">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F$2:$F$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0F-3D9A-4307-8E61-6CCF461E4D3E}"/>
                  </c:ext>
                </c:extLst>
              </c15:ser>
            </c15:filteredBarSeries>
            <c15:filteredBarSeries>
              <c15:ser>
                <c:idx val="10"/>
                <c:order val="4"/>
                <c:tx>
                  <c:strRef>
                    <c:extLst xmlns:c15="http://schemas.microsoft.com/office/drawing/2012/chart">
                      <c:ext xmlns:c15="http://schemas.microsoft.com/office/drawing/2012/chart" uri="{02D57815-91ED-43cb-92C2-25804820EDAC}">
                        <c15:formulaRef>
                          <c15:sqref>'epi_curve (2015-2023)'!$G$1</c15:sqref>
                        </c15:formulaRef>
                      </c:ext>
                    </c:extLst>
                    <c:strCache>
                      <c:ptCount val="1"/>
                      <c:pt idx="0">
                        <c:v>Gauteng respiratory cases</c:v>
                      </c:pt>
                    </c:strCache>
                  </c:strRef>
                </c:tx>
                <c:spPr>
                  <a:solidFill>
                    <a:srgbClr val="276A7C"/>
                  </a:solidFill>
                  <a:ln>
                    <a:solidFill>
                      <a:schemeClr val="accent1">
                        <a:lumMod val="75000"/>
                      </a:schemeClr>
                    </a:solidFill>
                  </a:ln>
                  <a:effectLst/>
                </c:spPr>
                <c:invertIfNegative val="0"/>
                <c:dPt>
                  <c:idx val="53"/>
                  <c:invertIfNegative val="0"/>
                  <c:bubble3D val="0"/>
                  <c:spPr>
                    <a:solidFill>
                      <a:srgbClr val="276A7C"/>
                    </a:solidFill>
                    <a:ln w="15875">
                      <a:solidFill>
                        <a:schemeClr val="accent1">
                          <a:lumMod val="75000"/>
                        </a:schemeClr>
                      </a:solidFill>
                    </a:ln>
                    <a:effectLst/>
                  </c:spPr>
                  <c:extLst xmlns:c15="http://schemas.microsoft.com/office/drawing/2012/chart">
                    <c:ext xmlns:c16="http://schemas.microsoft.com/office/drawing/2014/chart" uri="{C3380CC4-5D6E-409C-BE32-E72D297353CC}">
                      <c16:uniqueId val="{00000011-3D9A-4307-8E61-6CCF461E4D3E}"/>
                    </c:ext>
                  </c:extLst>
                </c:dPt>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G$2:$G$80</c15:sqref>
                        </c15:formulaRef>
                      </c:ext>
                    </c:extLst>
                    <c:numCache>
                      <c:formatCode>General</c:formatCode>
                      <c:ptCount val="7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xmlns:c15="http://schemas.microsoft.com/office/drawing/2012/chart">
                  <c:ext xmlns:c16="http://schemas.microsoft.com/office/drawing/2014/chart" uri="{C3380CC4-5D6E-409C-BE32-E72D297353CC}">
                    <c16:uniqueId val="{00000012-3D9A-4307-8E61-6CCF461E4D3E}"/>
                  </c:ext>
                </c:extLst>
              </c15:ser>
            </c15:filteredBarSeries>
            <c15:filteredBarSeries>
              <c15:ser>
                <c:idx val="25"/>
                <c:order val="5"/>
                <c:tx>
                  <c:strRef>
                    <c:extLst xmlns:c15="http://schemas.microsoft.com/office/drawing/2012/chart">
                      <c:ext xmlns:c15="http://schemas.microsoft.com/office/drawing/2012/chart" uri="{02D57815-91ED-43cb-92C2-25804820EDAC}">
                        <c15:formulaRef>
                          <c15:sqref>'epi_curve (2015-2023)'!$P$1</c15:sqref>
                        </c15:formulaRef>
                      </c:ext>
                    </c:extLst>
                    <c:strCache>
                      <c:ptCount val="1"/>
                      <c:pt idx="0">
                        <c:v>Limpopo respiratory cases</c:v>
                      </c:pt>
                    </c:strCache>
                  </c:strRef>
                </c:tx>
                <c:spPr>
                  <a:solidFill>
                    <a:schemeClr val="accent2">
                      <a:lumMod val="75000"/>
                    </a:schemeClr>
                  </a:solidFill>
                  <a:ln>
                    <a:solidFill>
                      <a:schemeClr val="accent2">
                        <a:lumMod val="75000"/>
                      </a:schemeClr>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P$2:$P$80</c15:sqref>
                        </c15:formulaRef>
                      </c:ext>
                    </c:extLst>
                    <c:numCache>
                      <c:formatCode>General</c:formatCode>
                      <c:ptCount val="7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xmlns:c15="http://schemas.microsoft.com/office/drawing/2012/chart">
                  <c:ext xmlns:c16="http://schemas.microsoft.com/office/drawing/2014/chart" uri="{C3380CC4-5D6E-409C-BE32-E72D297353CC}">
                    <c16:uniqueId val="{00000013-3D9A-4307-8E61-6CCF461E4D3E}"/>
                  </c:ext>
                </c:extLst>
              </c15:ser>
            </c15:filteredBarSeries>
            <c15:filteredBarSeries>
              <c15:ser>
                <c:idx val="16"/>
                <c:order val="6"/>
                <c:tx>
                  <c:strRef>
                    <c:extLst xmlns:c15="http://schemas.microsoft.com/office/drawing/2012/chart">
                      <c:ext xmlns:c15="http://schemas.microsoft.com/office/drawing/2012/chart" uri="{02D57815-91ED-43cb-92C2-25804820EDAC}">
                        <c15:formulaRef>
                          <c15:sqref>'epi_curve (2015-2023)'!$N$1</c15:sqref>
                        </c15:formulaRef>
                      </c:ext>
                    </c:extLst>
                    <c:strCache>
                      <c:ptCount val="1"/>
                      <c:pt idx="0">
                        <c:v>Mpumalanga respiratory cases</c:v>
                      </c:pt>
                    </c:strCache>
                  </c:strRef>
                </c:tx>
                <c:spPr>
                  <a:solidFill>
                    <a:srgbClr val="6FBDD1"/>
                  </a:solidFill>
                  <a:ln>
                    <a:solidFill>
                      <a:srgbClr val="6FBDD1"/>
                    </a:solidFill>
                  </a:ln>
                  <a:effectLst/>
                </c:spPr>
                <c:invertIfNegative val="0"/>
                <c:dPt>
                  <c:idx val="65"/>
                  <c:invertIfNegative val="0"/>
                  <c:bubble3D val="0"/>
                  <c:spPr>
                    <a:solidFill>
                      <a:srgbClr val="6FBDD1"/>
                    </a:solidFill>
                    <a:ln>
                      <a:noFill/>
                    </a:ln>
                    <a:effectLst/>
                  </c:spPr>
                  <c:extLst xmlns:c15="http://schemas.microsoft.com/office/drawing/2012/chart">
                    <c:ext xmlns:c16="http://schemas.microsoft.com/office/drawing/2014/chart" uri="{C3380CC4-5D6E-409C-BE32-E72D297353CC}">
                      <c16:uniqueId val="{00000015-3D9A-4307-8E61-6CCF461E4D3E}"/>
                    </c:ext>
                  </c:extLst>
                </c:dPt>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N$2:$N$80</c15:sqref>
                        </c15:formulaRef>
                      </c:ext>
                    </c:extLst>
                    <c:numCache>
                      <c:formatCode>General</c:formatCode>
                      <c:ptCount val="7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xmlns:c15="http://schemas.microsoft.com/office/drawing/2012/chart">
                  <c:ext xmlns:c16="http://schemas.microsoft.com/office/drawing/2014/chart" uri="{C3380CC4-5D6E-409C-BE32-E72D297353CC}">
                    <c16:uniqueId val="{00000016-3D9A-4307-8E61-6CCF461E4D3E}"/>
                  </c:ext>
                </c:extLst>
              </c15:ser>
            </c15:filteredBarSeries>
            <c15:filteredBarSeries>
              <c15:ser>
                <c:idx val="19"/>
                <c:order val="10"/>
                <c:tx>
                  <c:strRef>
                    <c:extLst xmlns:c15="http://schemas.microsoft.com/office/drawing/2012/chart">
                      <c:ext xmlns:c15="http://schemas.microsoft.com/office/drawing/2012/chart" uri="{02D57815-91ED-43cb-92C2-25804820EDAC}">
                        <c15:formulaRef>
                          <c15:sqref>'epi_curve (2015-2023)'!$S$1</c15:sqref>
                        </c15:formulaRef>
                      </c:ext>
                    </c:extLst>
                    <c:strCache>
                      <c:ptCount val="1"/>
                      <c:pt idx="0">
                        <c:v>North West respiratory cases</c:v>
                      </c:pt>
                    </c:strCache>
                  </c:strRef>
                </c:tx>
                <c:spPr>
                  <a:solidFill>
                    <a:schemeClr val="accent2">
                      <a:lumMod val="8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S$2:$S$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7-3D9A-4307-8E61-6CCF461E4D3E}"/>
                  </c:ext>
                </c:extLst>
              </c15:ser>
            </c15:filteredBarSeries>
            <c15:filteredBarSeries>
              <c15:ser>
                <c:idx val="8"/>
                <c:order val="12"/>
                <c:tx>
                  <c:strRef>
                    <c:extLst xmlns:c15="http://schemas.microsoft.com/office/drawing/2012/chart">
                      <c:ext xmlns:c15="http://schemas.microsoft.com/office/drawing/2012/chart" uri="{02D57815-91ED-43cb-92C2-25804820EDAC}">
                        <c15:formulaRef>
                          <c15:sqref>'epi_curve (2015-2023)'!$H$1</c15:sqref>
                        </c15:formulaRef>
                      </c:ext>
                    </c:extLst>
                    <c:strCache>
                      <c:ptCount val="1"/>
                      <c:pt idx="0">
                        <c:v>Gauteng asymptomatic carriers</c:v>
                      </c:pt>
                    </c:strCache>
                  </c:strRef>
                </c:tx>
                <c:spPr>
                  <a:pattFill prst="wdDnDiag">
                    <a:fgClr>
                      <a:schemeClr val="accent1"/>
                    </a:fgClr>
                    <a:bgClr>
                      <a:schemeClr val="bg1"/>
                    </a:bgClr>
                  </a:pattFill>
                  <a:ln>
                    <a:solidFill>
                      <a:schemeClr val="accent1"/>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H$2:$H$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8-3D9A-4307-8E61-6CCF461E4D3E}"/>
                  </c:ext>
                </c:extLst>
              </c15:ser>
            </c15:filteredBarSeries>
            <c15:filteredBarSeries>
              <c15:ser>
                <c:idx val="24"/>
                <c:order val="14"/>
                <c:tx>
                  <c:strRef>
                    <c:extLst xmlns:c15="http://schemas.microsoft.com/office/drawing/2012/chart">
                      <c:ext xmlns:c15="http://schemas.microsoft.com/office/drawing/2012/chart" uri="{02D57815-91ED-43cb-92C2-25804820EDAC}">
                        <c15:formulaRef>
                          <c15:sqref>'epi_curve (2015-2023)'!$O$1</c15:sqref>
                        </c15:formulaRef>
                      </c:ext>
                    </c:extLst>
                    <c:strCache>
                      <c:ptCount val="1"/>
                      <c:pt idx="0">
                        <c:v>Limpopo asymptomatic carriers</c:v>
                      </c:pt>
                    </c:strCache>
                  </c:strRef>
                </c:tx>
                <c:spPr>
                  <a:pattFill prst="wdDnDiag">
                    <a:fgClr>
                      <a:schemeClr val="accent2">
                        <a:lumMod val="75000"/>
                      </a:schemeClr>
                    </a:fgClr>
                    <a:bgClr>
                      <a:schemeClr val="bg1"/>
                    </a:bgClr>
                  </a:pattFill>
                  <a:ln>
                    <a:solidFill>
                      <a:schemeClr val="accent2">
                        <a:lumMod val="75000"/>
                      </a:schemeClr>
                    </a:solidFill>
                  </a:ln>
                  <a:effectLst/>
                </c:spPr>
                <c:invertIfNegative val="0"/>
                <c:dPt>
                  <c:idx val="66"/>
                  <c:invertIfNegative val="0"/>
                  <c:bubble3D val="0"/>
                  <c:spPr>
                    <a:pattFill prst="wdDnDiag">
                      <a:fgClr>
                        <a:schemeClr val="accent2">
                          <a:lumMod val="75000"/>
                        </a:schemeClr>
                      </a:fgClr>
                      <a:bgClr>
                        <a:schemeClr val="bg1"/>
                      </a:bgClr>
                    </a:pattFill>
                    <a:ln>
                      <a:solidFill>
                        <a:schemeClr val="accent2">
                          <a:lumMod val="75000"/>
                        </a:schemeClr>
                      </a:solidFill>
                    </a:ln>
                    <a:effectLst/>
                  </c:spPr>
                  <c:extLst xmlns:c15="http://schemas.microsoft.com/office/drawing/2012/chart">
                    <c:ext xmlns:c16="http://schemas.microsoft.com/office/drawing/2014/chart" uri="{C3380CC4-5D6E-409C-BE32-E72D297353CC}">
                      <c16:uniqueId val="{0000001A-3D9A-4307-8E61-6CCF461E4D3E}"/>
                    </c:ext>
                  </c:extLst>
                </c:dPt>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O$2:$O$80</c15:sqref>
                        </c15:formulaRef>
                      </c:ext>
                    </c:extLst>
                    <c:numCache>
                      <c:formatCode>General</c:formatCode>
                      <c:ptCount val="7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xmlns:c15="http://schemas.microsoft.com/office/drawing/2012/chart">
                  <c:ext xmlns:c16="http://schemas.microsoft.com/office/drawing/2014/chart" uri="{C3380CC4-5D6E-409C-BE32-E72D297353CC}">
                    <c16:uniqueId val="{0000001B-3D9A-4307-8E61-6CCF461E4D3E}"/>
                  </c:ext>
                </c:extLst>
              </c15:ser>
            </c15:filteredBarSeries>
            <c15:filteredBarSeries>
              <c15:ser>
                <c:idx val="23"/>
                <c:order val="15"/>
                <c:tx>
                  <c:strRef>
                    <c:extLst xmlns:c15="http://schemas.microsoft.com/office/drawing/2012/chart">
                      <c:ext xmlns:c15="http://schemas.microsoft.com/office/drawing/2012/chart" uri="{02D57815-91ED-43cb-92C2-25804820EDAC}">
                        <c15:formulaRef>
                          <c15:sqref>'epi_curve (2015-2023)'!$Q$1</c15:sqref>
                        </c15:formulaRef>
                      </c:ext>
                    </c:extLst>
                    <c:strCache>
                      <c:ptCount val="1"/>
                      <c:pt idx="0">
                        <c:v>Limpopo probable case</c:v>
                      </c:pt>
                    </c:strCache>
                  </c:strRef>
                </c:tx>
                <c:spPr>
                  <a:pattFill prst="lgCheck">
                    <a:fgClr>
                      <a:schemeClr val="accent2">
                        <a:lumMod val="75000"/>
                      </a:schemeClr>
                    </a:fgClr>
                    <a:bgClr>
                      <a:schemeClr val="bg1"/>
                    </a:bgClr>
                  </a:pattFill>
                  <a:ln>
                    <a:solidFill>
                      <a:schemeClr val="accent2">
                        <a:lumMod val="75000"/>
                      </a:schemeClr>
                    </a:solidFill>
                  </a:ln>
                  <a:effectLst/>
                </c:spPr>
                <c:invertIfNegative val="0"/>
                <c:dPt>
                  <c:idx val="61"/>
                  <c:invertIfNegative val="0"/>
                  <c:bubble3D val="0"/>
                  <c:spPr>
                    <a:pattFill prst="solidDmnd">
                      <a:fgClr>
                        <a:schemeClr val="accent2">
                          <a:lumMod val="75000"/>
                        </a:schemeClr>
                      </a:fgClr>
                      <a:bgClr>
                        <a:schemeClr val="bg1"/>
                      </a:bgClr>
                    </a:pattFill>
                    <a:ln>
                      <a:solidFill>
                        <a:schemeClr val="accent2">
                          <a:lumMod val="75000"/>
                        </a:schemeClr>
                      </a:solidFill>
                    </a:ln>
                    <a:effectLst/>
                  </c:spPr>
                  <c:extLst xmlns:c15="http://schemas.microsoft.com/office/drawing/2012/chart">
                    <c:ext xmlns:c16="http://schemas.microsoft.com/office/drawing/2014/chart" uri="{C3380CC4-5D6E-409C-BE32-E72D297353CC}">
                      <c16:uniqueId val="{0000001D-3D9A-4307-8E61-6CCF461E4D3E}"/>
                    </c:ext>
                  </c:extLst>
                </c:dPt>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Q$2:$Q$80</c15:sqref>
                        </c15:formulaRef>
                      </c:ext>
                    </c:extLst>
                    <c:numCache>
                      <c:formatCode>General</c:formatCode>
                      <c:ptCount val="7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xmlns:c15="http://schemas.microsoft.com/office/drawing/2012/chart">
                  <c:ext xmlns:c16="http://schemas.microsoft.com/office/drawing/2014/chart" uri="{C3380CC4-5D6E-409C-BE32-E72D297353CC}">
                    <c16:uniqueId val="{0000001E-3D9A-4307-8E61-6CCF461E4D3E}"/>
                  </c:ext>
                </c:extLst>
              </c15:ser>
            </c15:filteredBarSeries>
            <c15:filteredBarSeries>
              <c15:ser>
                <c:idx val="5"/>
                <c:order val="16"/>
                <c:tx>
                  <c:strRef>
                    <c:extLst xmlns:c15="http://schemas.microsoft.com/office/drawing/2012/chart">
                      <c:ext xmlns:c15="http://schemas.microsoft.com/office/drawing/2012/chart" uri="{02D57815-91ED-43cb-92C2-25804820EDAC}">
                        <c15:formulaRef>
                          <c15:sqref>'epi_curve (2015-2023)'!$E$1</c15:sqref>
                        </c15:formulaRef>
                      </c:ext>
                    </c:extLst>
                    <c:strCache>
                      <c:ptCount val="1"/>
                      <c:pt idx="0">
                        <c:v>Freestate asymptomatic carriers</c:v>
                      </c:pt>
                    </c:strCache>
                  </c:strRef>
                </c:tx>
                <c:spPr>
                  <a:pattFill prst="wdDnDiag">
                    <a:fgClr>
                      <a:schemeClr val="accent3"/>
                    </a:fgClr>
                    <a:bgClr>
                      <a:schemeClr val="bg1"/>
                    </a:bgClr>
                  </a:pattFill>
                  <a:ln>
                    <a:solidFill>
                      <a:schemeClr val="accent3"/>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E$2:$E$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1F-3D9A-4307-8E61-6CCF461E4D3E}"/>
                  </c:ext>
                </c:extLst>
              </c15:ser>
            </c15:filteredBarSeries>
            <c15:filteredBarSeries>
              <c15:ser>
                <c:idx val="14"/>
                <c:order val="17"/>
                <c:tx>
                  <c:strRef>
                    <c:extLst xmlns:c15="http://schemas.microsoft.com/office/drawing/2012/chart">
                      <c:ext xmlns:c15="http://schemas.microsoft.com/office/drawing/2012/chart" uri="{02D57815-91ED-43cb-92C2-25804820EDAC}">
                        <c15:formulaRef>
                          <c15:sqref>'epi_curve (2015-2023)'!$M$1</c15:sqref>
                        </c15:formulaRef>
                      </c:ext>
                    </c:extLst>
                    <c:strCache>
                      <c:ptCount val="1"/>
                      <c:pt idx="0">
                        <c:v>Mpumalanga asymptomatic carriers</c:v>
                      </c:pt>
                    </c:strCache>
                  </c:strRef>
                </c:tx>
                <c:spPr>
                  <a:pattFill prst="wdDnDiag">
                    <a:fgClr>
                      <a:srgbClr val="6FBDD1"/>
                    </a:fgClr>
                    <a:bgClr>
                      <a:schemeClr val="bg1"/>
                    </a:bgClr>
                  </a:pattFill>
                  <a:ln>
                    <a:solidFill>
                      <a:srgbClr val="6FBDD1"/>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M$2:$M$80</c15:sqref>
                        </c15:formulaRef>
                      </c:ext>
                    </c:extLst>
                    <c:numCache>
                      <c:formatCode>General</c:formatCode>
                      <c:ptCount val="7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xmlns:c15="http://schemas.microsoft.com/office/drawing/2012/chart">
                  <c:ext xmlns:c16="http://schemas.microsoft.com/office/drawing/2014/chart" uri="{C3380CC4-5D6E-409C-BE32-E72D297353CC}">
                    <c16:uniqueId val="{00000020-3D9A-4307-8E61-6CCF461E4D3E}"/>
                  </c:ext>
                </c:extLst>
              </c15:ser>
            </c15:filteredBarSeries>
            <c15:filteredBarSeries>
              <c15:ser>
                <c:idx val="17"/>
                <c:order val="18"/>
                <c:tx>
                  <c:strRef>
                    <c:extLst xmlns:c15="http://schemas.microsoft.com/office/drawing/2012/chart">
                      <c:ext xmlns:c15="http://schemas.microsoft.com/office/drawing/2012/chart" uri="{02D57815-91ED-43cb-92C2-25804820EDAC}">
                        <c15:formulaRef>
                          <c15:sqref>'epi_curve (2015-2023)'!$R$1</c15:sqref>
                        </c15:formulaRef>
                      </c:ext>
                    </c:extLst>
                    <c:strCache>
                      <c:ptCount val="1"/>
                      <c:pt idx="0">
                        <c:v>North West asymptomatic carriers</c:v>
                      </c:pt>
                    </c:strCache>
                  </c:strRef>
                </c:tx>
                <c:spPr>
                  <a:solidFill>
                    <a:schemeClr val="accent6">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 (2015-2023)'!$R$2:$R$69</c15:sqref>
                        </c15:formulaRef>
                      </c:ext>
                    </c:extLst>
                    <c:numCache>
                      <c:formatCode>General</c:formatCode>
                      <c:ptCount val="6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numCache>
                  </c:numRef>
                </c:val>
                <c:extLst xmlns:c15="http://schemas.microsoft.com/office/drawing/2012/chart">
                  <c:ext xmlns:c16="http://schemas.microsoft.com/office/drawing/2014/chart" uri="{C3380CC4-5D6E-409C-BE32-E72D297353CC}">
                    <c16:uniqueId val="{00000021-3D9A-4307-8E61-6CCF461E4D3E}"/>
                  </c:ext>
                </c:extLst>
              </c15:ser>
            </c15:filteredBarSeries>
            <c15:filteredBarSeries>
              <c15:ser>
                <c:idx val="3"/>
                <c:order val="20"/>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1"/>
                  </a:solidFill>
                  <a:ln>
                    <a:solidFill>
                      <a:schemeClr val="accent1"/>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2-3D9A-4307-8E61-6CCF461E4D3E}"/>
                  </c:ext>
                </c:extLst>
              </c15:ser>
            </c15:filteredBarSeries>
            <c15:filteredBarSeries>
              <c15:ser>
                <c:idx val="6"/>
                <c:order val="21"/>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pattFill prst="wdDnDiag">
                    <a:fgClr>
                      <a:schemeClr val="accent1"/>
                    </a:fgClr>
                    <a:bgClr>
                      <a:schemeClr val="bg1"/>
                    </a:bgClr>
                  </a:pattFill>
                  <a:ln>
                    <a:solidFill>
                      <a:schemeClr val="accent1"/>
                    </a:solid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3-3D9A-4307-8E61-6CCF461E4D3E}"/>
                  </c:ext>
                </c:extLst>
              </c15:ser>
            </c15:filteredBarSeries>
            <c15:filteredBarSeries>
              <c15:ser>
                <c:idx val="9"/>
                <c:order val="22"/>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4">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4-3D9A-4307-8E61-6CCF461E4D3E}"/>
                  </c:ext>
                </c:extLst>
              </c15:ser>
            </c15:filteredBarSeries>
            <c15:filteredBarSeries>
              <c15:ser>
                <c:idx val="12"/>
                <c:order val="23"/>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1">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5-3D9A-4307-8E61-6CCF461E4D3E}"/>
                  </c:ext>
                </c:extLst>
              </c15:ser>
            </c15:filteredBarSeries>
            <c15:filteredBarSeries>
              <c15:ser>
                <c:idx val="15"/>
                <c:order val="24"/>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4">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6-3D9A-4307-8E61-6CCF461E4D3E}"/>
                  </c:ext>
                </c:extLst>
              </c15:ser>
            </c15:filteredBarSeries>
            <c15:filteredBarSeries>
              <c15:ser>
                <c:idx val="18"/>
                <c:order val="25"/>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1">
                      <a:lumMod val="8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7-3D9A-4307-8E61-6CCF461E4D3E}"/>
                  </c:ext>
                </c:extLst>
              </c15:ser>
            </c15:filteredBarSeries>
            <c15:filteredBarSeries>
              <c15:ser>
                <c:idx val="21"/>
                <c:order val="26"/>
                <c:tx>
                  <c:strRef>
                    <c:extLst xmlns:c15="http://schemas.microsoft.com/office/drawing/2012/chart">
                      <c:ext xmlns:c15="http://schemas.microsoft.com/office/drawing/2012/chart" uri="{02D57815-91ED-43cb-92C2-25804820EDAC}">
                        <c15:formulaRef>
                          <c15:sqref>epi_curve!#REF!</c15:sqref>
                        </c15:formulaRef>
                      </c:ext>
                    </c:extLst>
                    <c:strCache>
                      <c:ptCount val="1"/>
                      <c:pt idx="0">
                        <c:v>#REF!</c:v>
                      </c:pt>
                    </c:strCache>
                  </c:strRef>
                </c:tx>
                <c:spPr>
                  <a:solidFill>
                    <a:schemeClr val="accent4">
                      <a:lumMod val="8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epi_curve (2015-2023)'!$A$2:$B$109</c15:sqref>
                        </c15:formulaRef>
                      </c:ext>
                    </c:extLst>
                    <c:multiLvlStrCache>
                      <c:ptCount val="108"/>
                      <c:lvl>
                        <c:pt idx="0">
                          <c:v>Jan</c:v>
                        </c:pt>
                        <c:pt idx="1">
                          <c:v>Feb</c:v>
                        </c:pt>
                        <c:pt idx="2">
                          <c:v>March</c:v>
                        </c:pt>
                        <c:pt idx="3">
                          <c:v>April</c:v>
                        </c:pt>
                        <c:pt idx="4">
                          <c:v>May</c:v>
                        </c:pt>
                        <c:pt idx="5">
                          <c:v>June</c:v>
                        </c:pt>
                        <c:pt idx="6">
                          <c:v>July</c:v>
                        </c:pt>
                        <c:pt idx="7">
                          <c:v>Aug</c:v>
                        </c:pt>
                        <c:pt idx="8">
                          <c:v>Sept</c:v>
                        </c:pt>
                        <c:pt idx="9">
                          <c:v>Oct</c:v>
                        </c:pt>
                        <c:pt idx="10">
                          <c:v>Nove</c:v>
                        </c:pt>
                        <c:pt idx="11">
                          <c:v>Dec</c:v>
                        </c:pt>
                        <c:pt idx="12">
                          <c:v>Jan</c:v>
                        </c:pt>
                        <c:pt idx="13">
                          <c:v>Feb</c:v>
                        </c:pt>
                        <c:pt idx="14">
                          <c:v>March</c:v>
                        </c:pt>
                        <c:pt idx="15">
                          <c:v>April</c:v>
                        </c:pt>
                        <c:pt idx="16">
                          <c:v>May</c:v>
                        </c:pt>
                        <c:pt idx="17">
                          <c:v>June</c:v>
                        </c:pt>
                        <c:pt idx="18">
                          <c:v>July</c:v>
                        </c:pt>
                        <c:pt idx="19">
                          <c:v>Aug</c:v>
                        </c:pt>
                        <c:pt idx="20">
                          <c:v>Sept</c:v>
                        </c:pt>
                        <c:pt idx="21">
                          <c:v>Oct</c:v>
                        </c:pt>
                        <c:pt idx="22">
                          <c:v>Nove</c:v>
                        </c:pt>
                        <c:pt idx="23">
                          <c:v>Dec</c:v>
                        </c:pt>
                        <c:pt idx="24">
                          <c:v>Jan</c:v>
                        </c:pt>
                        <c:pt idx="25">
                          <c:v>Feb</c:v>
                        </c:pt>
                        <c:pt idx="26">
                          <c:v>March</c:v>
                        </c:pt>
                        <c:pt idx="27">
                          <c:v>April</c:v>
                        </c:pt>
                        <c:pt idx="28">
                          <c:v>May</c:v>
                        </c:pt>
                        <c:pt idx="29">
                          <c:v>June</c:v>
                        </c:pt>
                        <c:pt idx="30">
                          <c:v>July</c:v>
                        </c:pt>
                        <c:pt idx="31">
                          <c:v>Aug</c:v>
                        </c:pt>
                        <c:pt idx="32">
                          <c:v>Sept</c:v>
                        </c:pt>
                        <c:pt idx="33">
                          <c:v>Oct</c:v>
                        </c:pt>
                        <c:pt idx="34">
                          <c:v>Nove</c:v>
                        </c:pt>
                        <c:pt idx="35">
                          <c:v>Dec</c:v>
                        </c:pt>
                        <c:pt idx="36">
                          <c:v>Jan</c:v>
                        </c:pt>
                        <c:pt idx="37">
                          <c:v>Feb</c:v>
                        </c:pt>
                        <c:pt idx="38">
                          <c:v>March</c:v>
                        </c:pt>
                        <c:pt idx="39">
                          <c:v>April</c:v>
                        </c:pt>
                        <c:pt idx="40">
                          <c:v>May</c:v>
                        </c:pt>
                        <c:pt idx="41">
                          <c:v>June</c:v>
                        </c:pt>
                        <c:pt idx="42">
                          <c:v>July</c:v>
                        </c:pt>
                        <c:pt idx="43">
                          <c:v>Aug</c:v>
                        </c:pt>
                        <c:pt idx="44">
                          <c:v>Sept</c:v>
                        </c:pt>
                        <c:pt idx="45">
                          <c:v>Oct</c:v>
                        </c:pt>
                        <c:pt idx="46">
                          <c:v>Nove</c:v>
                        </c:pt>
                        <c:pt idx="47">
                          <c:v>Dec</c:v>
                        </c:pt>
                        <c:pt idx="48">
                          <c:v>Jan</c:v>
                        </c:pt>
                        <c:pt idx="49">
                          <c:v>Feb</c:v>
                        </c:pt>
                        <c:pt idx="50">
                          <c:v>March</c:v>
                        </c:pt>
                        <c:pt idx="51">
                          <c:v>April</c:v>
                        </c:pt>
                        <c:pt idx="52">
                          <c:v>May</c:v>
                        </c:pt>
                        <c:pt idx="53">
                          <c:v>June</c:v>
                        </c:pt>
                        <c:pt idx="54">
                          <c:v>July</c:v>
                        </c:pt>
                        <c:pt idx="55">
                          <c:v>Aug</c:v>
                        </c:pt>
                        <c:pt idx="56">
                          <c:v>Sept</c:v>
                        </c:pt>
                        <c:pt idx="57">
                          <c:v>Oct</c:v>
                        </c:pt>
                        <c:pt idx="58">
                          <c:v>Nove</c:v>
                        </c:pt>
                        <c:pt idx="59">
                          <c:v>Dec</c:v>
                        </c:pt>
                        <c:pt idx="60">
                          <c:v>Jan</c:v>
                        </c:pt>
                        <c:pt idx="61">
                          <c:v>Feb</c:v>
                        </c:pt>
                        <c:pt idx="62">
                          <c:v>March</c:v>
                        </c:pt>
                        <c:pt idx="63">
                          <c:v>April</c:v>
                        </c:pt>
                        <c:pt idx="64">
                          <c:v>May</c:v>
                        </c:pt>
                        <c:pt idx="65">
                          <c:v>June</c:v>
                        </c:pt>
                        <c:pt idx="66">
                          <c:v>July</c:v>
                        </c:pt>
                        <c:pt idx="67">
                          <c:v>Aug</c:v>
                        </c:pt>
                        <c:pt idx="68">
                          <c:v>Sept</c:v>
                        </c:pt>
                        <c:pt idx="69">
                          <c:v>Oct</c:v>
                        </c:pt>
                        <c:pt idx="70">
                          <c:v>Nove</c:v>
                        </c:pt>
                        <c:pt idx="71">
                          <c:v>Dec</c:v>
                        </c:pt>
                        <c:pt idx="72">
                          <c:v>Jan</c:v>
                        </c:pt>
                        <c:pt idx="73">
                          <c:v>Feb</c:v>
                        </c:pt>
                        <c:pt idx="74">
                          <c:v>March</c:v>
                        </c:pt>
                        <c:pt idx="75">
                          <c:v>April</c:v>
                        </c:pt>
                        <c:pt idx="76">
                          <c:v>May</c:v>
                        </c:pt>
                        <c:pt idx="77">
                          <c:v>June</c:v>
                        </c:pt>
                        <c:pt idx="78">
                          <c:v>July</c:v>
                        </c:pt>
                        <c:pt idx="79">
                          <c:v>Aug</c:v>
                        </c:pt>
                        <c:pt idx="80">
                          <c:v>Sept</c:v>
                        </c:pt>
                        <c:pt idx="81">
                          <c:v>Oct</c:v>
                        </c:pt>
                        <c:pt idx="82">
                          <c:v>Nove</c:v>
                        </c:pt>
                        <c:pt idx="83">
                          <c:v>Dec</c:v>
                        </c:pt>
                        <c:pt idx="84">
                          <c:v>Jan</c:v>
                        </c:pt>
                        <c:pt idx="85">
                          <c:v>Feb</c:v>
                        </c:pt>
                        <c:pt idx="86">
                          <c:v>March</c:v>
                        </c:pt>
                        <c:pt idx="87">
                          <c:v>April</c:v>
                        </c:pt>
                        <c:pt idx="88">
                          <c:v>May</c:v>
                        </c:pt>
                        <c:pt idx="89">
                          <c:v>June</c:v>
                        </c:pt>
                        <c:pt idx="90">
                          <c:v>July</c:v>
                        </c:pt>
                        <c:pt idx="91">
                          <c:v>Aug</c:v>
                        </c:pt>
                        <c:pt idx="92">
                          <c:v>Sept</c:v>
                        </c:pt>
                        <c:pt idx="93">
                          <c:v>Oct</c:v>
                        </c:pt>
                        <c:pt idx="94">
                          <c:v>Nove</c:v>
                        </c:pt>
                        <c:pt idx="95">
                          <c:v>Dec</c:v>
                        </c:pt>
                        <c:pt idx="96">
                          <c:v>Jan</c:v>
                        </c:pt>
                        <c:pt idx="97">
                          <c:v>Feb</c:v>
                        </c:pt>
                        <c:pt idx="98">
                          <c:v>March</c:v>
                        </c:pt>
                        <c:pt idx="99">
                          <c:v>April</c:v>
                        </c:pt>
                        <c:pt idx="100">
                          <c:v>May</c:v>
                        </c:pt>
                        <c:pt idx="101">
                          <c:v>June</c:v>
                        </c:pt>
                        <c:pt idx="102">
                          <c:v>July</c:v>
                        </c:pt>
                        <c:pt idx="103">
                          <c:v>Aug</c:v>
                        </c:pt>
                        <c:pt idx="104">
                          <c:v>Sept</c:v>
                        </c:pt>
                        <c:pt idx="105">
                          <c:v>Oct</c:v>
                        </c:pt>
                        <c:pt idx="106">
                          <c:v>Nove</c:v>
                        </c:pt>
                        <c:pt idx="107">
                          <c:v>Dec</c:v>
                        </c:pt>
                      </c:lvl>
                      <c:lvl>
                        <c:pt idx="0">
                          <c:v>2015</c:v>
                        </c:pt>
                        <c:pt idx="12">
                          <c:v>2016</c:v>
                        </c:pt>
                        <c:pt idx="24">
                          <c:v>2017</c:v>
                        </c:pt>
                        <c:pt idx="36">
                          <c:v>2018</c:v>
                        </c:pt>
                        <c:pt idx="48">
                          <c:v>2019</c:v>
                        </c:pt>
                        <c:pt idx="60">
                          <c:v>2020</c:v>
                        </c:pt>
                        <c:pt idx="72">
                          <c:v>2021</c:v>
                        </c:pt>
                        <c:pt idx="84">
                          <c:v>2022</c:v>
                        </c:pt>
                        <c:pt idx="96">
                          <c:v>2023</c:v>
                        </c:pt>
                      </c:lvl>
                    </c:multiLvlStrCache>
                  </c:multiLvlStrRef>
                </c:cat>
                <c:val>
                  <c:numRef>
                    <c:extLst xmlns:c15="http://schemas.microsoft.com/office/drawing/2012/chart">
                      <c:ext xmlns:c15="http://schemas.microsoft.com/office/drawing/2012/chart" uri="{02D57815-91ED-43cb-92C2-25804820EDAC}">
                        <c15:formulaRef>
                          <c15:sqref>epi_curve!#REF!</c15:sqref>
                        </c15:formulaRef>
                      </c:ext>
                    </c:extLst>
                    <c:numCache>
                      <c:formatCode>General</c:formatCode>
                      <c:ptCount val="1"/>
                      <c:pt idx="0">
                        <c:v>1</c:v>
                      </c:pt>
                    </c:numCache>
                  </c:numRef>
                </c:val>
                <c:extLst xmlns:c15="http://schemas.microsoft.com/office/drawing/2012/chart">
                  <c:ext xmlns:c16="http://schemas.microsoft.com/office/drawing/2014/chart" uri="{C3380CC4-5D6E-409C-BE32-E72D297353CC}">
                    <c16:uniqueId val="{00000028-3D9A-4307-8E61-6CCF461E4D3E}"/>
                  </c:ext>
                </c:extLst>
              </c15:ser>
            </c15:filteredBarSeries>
          </c:ext>
        </c:extLst>
      </c:barChart>
      <c:catAx>
        <c:axId val="701321055"/>
        <c:scaling>
          <c:orientation val="minMax"/>
        </c:scaling>
        <c:delete val="0"/>
        <c:axPos val="b"/>
        <c:title>
          <c:tx>
            <c:rich>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r>
                  <a:rPr lang="en-US"/>
                  <a:t>Year and epidemiologic week</a:t>
                </a:r>
              </a:p>
            </c:rich>
          </c:tx>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Arial" panose="020B0604020202020204" pitchFamily="34" charset="0"/>
              </a:defRPr>
            </a:pPr>
            <a:endParaRPr lang="en-US"/>
          </a:p>
        </c:txPr>
        <c:crossAx val="765692687"/>
        <c:crosses val="autoZero"/>
        <c:auto val="1"/>
        <c:lblAlgn val="ctr"/>
        <c:lblOffset val="100"/>
        <c:noMultiLvlLbl val="0"/>
      </c:catAx>
      <c:valAx>
        <c:axId val="765692687"/>
        <c:scaling>
          <c:orientation val="minMax"/>
        </c:scaling>
        <c:delete val="0"/>
        <c:axPos val="l"/>
        <c:title>
          <c:tx>
            <c:rich>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r>
                  <a:rPr lang="en-US"/>
                  <a:t>Number</a:t>
                </a:r>
              </a:p>
            </c:rich>
          </c:tx>
          <c:layout/>
          <c:overlay val="0"/>
          <c:spPr>
            <a:noFill/>
            <a:ln>
              <a:noFill/>
            </a:ln>
            <a:effectLst/>
          </c:spPr>
          <c:txPr>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Arial" panose="020B0604020202020204" pitchFamily="34" charset="0"/>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Arial" panose="020B0604020202020204" pitchFamily="34" charset="0"/>
              </a:defRPr>
            </a:pPr>
            <a:endParaRPr lang="en-US"/>
          </a:p>
        </c:txPr>
        <c:crossAx val="701321055"/>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baseline="0">
          <a:solidFill>
            <a:sysClr val="windowText" lastClr="000000"/>
          </a:solidFill>
          <a:latin typeface="+mn-lt"/>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2658705958390805E-2"/>
          <c:y val="0.10970034140908173"/>
          <c:w val="0.96694268026540364"/>
          <c:h val="0.70836976286264342"/>
        </c:manualLayout>
      </c:layout>
      <c:barChart>
        <c:barDir val="col"/>
        <c:grouping val="stacked"/>
        <c:varyColors val="0"/>
        <c:ser>
          <c:idx val="5"/>
          <c:order val="0"/>
          <c:tx>
            <c:strRef>
              <c:f>'Seq 2024-2025'!$F$1</c:f>
              <c:strCache>
                <c:ptCount val="1"/>
                <c:pt idx="0">
                  <c:v>ST 906</c:v>
                </c:pt>
              </c:strCache>
            </c:strRef>
          </c:tx>
          <c:spPr>
            <a:solidFill>
              <a:schemeClr val="tx2">
                <a:lumMod val="60000"/>
                <a:lumOff val="40000"/>
              </a:schemeClr>
            </a:solidFill>
            <a:ln>
              <a:solidFill>
                <a:schemeClr val="tx2">
                  <a:lumMod val="60000"/>
                  <a:lumOff val="40000"/>
                </a:schemeClr>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F$2:$F$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1</c:v>
                </c:pt>
                <c:pt idx="22">
                  <c:v>0</c:v>
                </c:pt>
                <c:pt idx="23">
                  <c:v>0</c:v>
                </c:pt>
                <c:pt idx="24">
                  <c:v>0</c:v>
                </c:pt>
                <c:pt idx="25">
                  <c:v>0</c:v>
                </c:pt>
                <c:pt idx="26">
                  <c:v>0</c:v>
                </c:pt>
                <c:pt idx="27">
                  <c:v>0</c:v>
                </c:pt>
                <c:pt idx="28">
                  <c:v>0</c:v>
                </c:pt>
                <c:pt idx="29">
                  <c:v>0</c:v>
                </c:pt>
                <c:pt idx="30">
                  <c:v>1</c:v>
                </c:pt>
                <c:pt idx="31">
                  <c:v>0</c:v>
                </c:pt>
                <c:pt idx="32">
                  <c:v>2</c:v>
                </c:pt>
                <c:pt idx="33">
                  <c:v>4</c:v>
                </c:pt>
                <c:pt idx="34">
                  <c:v>4</c:v>
                </c:pt>
                <c:pt idx="35">
                  <c:v>0</c:v>
                </c:pt>
                <c:pt idx="36">
                  <c:v>0</c:v>
                </c:pt>
                <c:pt idx="37">
                  <c:v>0</c:v>
                </c:pt>
                <c:pt idx="38">
                  <c:v>0</c:v>
                </c:pt>
                <c:pt idx="39">
                  <c:v>0</c:v>
                </c:pt>
                <c:pt idx="40">
                  <c:v>0</c:v>
                </c:pt>
                <c:pt idx="41">
                  <c:v>0</c:v>
                </c:pt>
                <c:pt idx="42">
                  <c:v>0</c:v>
                </c:pt>
                <c:pt idx="43">
                  <c:v>0</c:v>
                </c:pt>
                <c:pt idx="44">
                  <c:v>0</c:v>
                </c:pt>
                <c:pt idx="45">
                  <c:v>0</c:v>
                </c:pt>
                <c:pt idx="46">
                  <c:v>0</c:v>
                </c:pt>
                <c:pt idx="47">
                  <c:v>1</c:v>
                </c:pt>
                <c:pt idx="48">
                  <c:v>1</c:v>
                </c:pt>
                <c:pt idx="49">
                  <c:v>1</c:v>
                </c:pt>
                <c:pt idx="50">
                  <c:v>7</c:v>
                </c:pt>
                <c:pt idx="51">
                  <c:v>1</c:v>
                </c:pt>
                <c:pt idx="52">
                  <c:v>1</c:v>
                </c:pt>
                <c:pt idx="53">
                  <c:v>1</c:v>
                </c:pt>
                <c:pt idx="54">
                  <c:v>0</c:v>
                </c:pt>
                <c:pt idx="55">
                  <c:v>0</c:v>
                </c:pt>
                <c:pt idx="56">
                  <c:v>1</c:v>
                </c:pt>
                <c:pt idx="57">
                  <c:v>1</c:v>
                </c:pt>
                <c:pt idx="58">
                  <c:v>11</c:v>
                </c:pt>
                <c:pt idx="59">
                  <c:v>3</c:v>
                </c:pt>
                <c:pt idx="60">
                  <c:v>0</c:v>
                </c:pt>
                <c:pt idx="61">
                  <c:v>0</c:v>
                </c:pt>
                <c:pt idx="62">
                  <c:v>0</c:v>
                </c:pt>
                <c:pt idx="63">
                  <c:v>0</c:v>
                </c:pt>
                <c:pt idx="64">
                  <c:v>0</c:v>
                </c:pt>
                <c:pt idx="65">
                  <c:v>0</c:v>
                </c:pt>
                <c:pt idx="66">
                  <c:v>0</c:v>
                </c:pt>
                <c:pt idx="67">
                  <c:v>0</c:v>
                </c:pt>
                <c:pt idx="68">
                  <c:v>0</c:v>
                </c:pt>
                <c:pt idx="69">
                  <c:v>0</c:v>
                </c:pt>
                <c:pt idx="70">
                  <c:v>0</c:v>
                </c:pt>
                <c:pt idx="71">
                  <c:v>2</c:v>
                </c:pt>
                <c:pt idx="72">
                  <c:v>2</c:v>
                </c:pt>
                <c:pt idx="73">
                  <c:v>1</c:v>
                </c:pt>
                <c:pt idx="74">
                  <c:v>1</c:v>
                </c:pt>
                <c:pt idx="75">
                  <c:v>1</c:v>
                </c:pt>
                <c:pt idx="76">
                  <c:v>0</c:v>
                </c:pt>
                <c:pt idx="77">
                  <c:v>0</c:v>
                </c:pt>
                <c:pt idx="78">
                  <c:v>0</c:v>
                </c:pt>
                <c:pt idx="79">
                  <c:v>0</c:v>
                </c:pt>
                <c:pt idx="80">
                  <c:v>0</c:v>
                </c:pt>
              </c:numCache>
            </c:numRef>
          </c:val>
          <c:extLst>
            <c:ext xmlns:c16="http://schemas.microsoft.com/office/drawing/2014/chart" uri="{C3380CC4-5D6E-409C-BE32-E72D297353CC}">
              <c16:uniqueId val="{00000000-6DCF-4E8C-A0D0-FC2568DE483F}"/>
            </c:ext>
          </c:extLst>
        </c:ser>
        <c:ser>
          <c:idx val="1"/>
          <c:order val="1"/>
          <c:tx>
            <c:strRef>
              <c:f>'Seq 2024-2025'!$D$1</c:f>
              <c:strCache>
                <c:ptCount val="1"/>
                <c:pt idx="0">
                  <c:v>ST 824</c:v>
                </c:pt>
              </c:strCache>
            </c:strRef>
          </c:tx>
          <c:spPr>
            <a:solidFill>
              <a:srgbClr val="92D050"/>
            </a:solidFill>
            <a:ln>
              <a:solidFill>
                <a:srgbClr val="92D050"/>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D$2:$D$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1</c:v>
                </c:pt>
                <c:pt idx="61">
                  <c:v>0</c:v>
                </c:pt>
                <c:pt idx="62">
                  <c:v>1</c:v>
                </c:pt>
                <c:pt idx="63">
                  <c:v>0</c:v>
                </c:pt>
                <c:pt idx="64">
                  <c:v>0</c:v>
                </c:pt>
                <c:pt idx="65">
                  <c:v>3</c:v>
                </c:pt>
                <c:pt idx="66">
                  <c:v>0</c:v>
                </c:pt>
                <c:pt idx="67">
                  <c:v>1</c:v>
                </c:pt>
                <c:pt idx="68">
                  <c:v>1</c:v>
                </c:pt>
                <c:pt idx="69">
                  <c:v>0</c:v>
                </c:pt>
                <c:pt idx="70">
                  <c:v>1</c:v>
                </c:pt>
                <c:pt idx="71">
                  <c:v>1</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1-6DCF-4E8C-A0D0-FC2568DE483F}"/>
            </c:ext>
          </c:extLst>
        </c:ser>
        <c:ser>
          <c:idx val="0"/>
          <c:order val="2"/>
          <c:tx>
            <c:strRef>
              <c:f>'Seq 2024-2025'!$C$1</c:f>
              <c:strCache>
                <c:ptCount val="1"/>
                <c:pt idx="0">
                  <c:v>ST 378</c:v>
                </c:pt>
              </c:strCache>
            </c:strRef>
          </c:tx>
          <c:spPr>
            <a:solidFill>
              <a:schemeClr val="accent6">
                <a:lumMod val="75000"/>
              </a:schemeClr>
            </a:solidFill>
            <a:ln>
              <a:solidFill>
                <a:schemeClr val="accent6">
                  <a:lumMod val="75000"/>
                </a:schemeClr>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C$2:$C$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3</c:v>
                </c:pt>
                <c:pt idx="69">
                  <c:v>0</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2-6DCF-4E8C-A0D0-FC2568DE483F}"/>
            </c:ext>
          </c:extLst>
        </c:ser>
        <c:ser>
          <c:idx val="4"/>
          <c:order val="3"/>
          <c:tx>
            <c:strRef>
              <c:f>'Seq 2024-2025'!$E$1</c:f>
              <c:strCache>
                <c:ptCount val="1"/>
                <c:pt idx="0">
                  <c:v>ST 905</c:v>
                </c:pt>
              </c:strCache>
            </c:strRef>
          </c:tx>
          <c:spPr>
            <a:solidFill>
              <a:srgbClr val="F278F5"/>
            </a:solidFill>
            <a:ln>
              <a:solidFill>
                <a:srgbClr val="F278F5"/>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E$2:$E$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1</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3-6DCF-4E8C-A0D0-FC2568DE483F}"/>
            </c:ext>
          </c:extLst>
        </c:ser>
        <c:ser>
          <c:idx val="3"/>
          <c:order val="4"/>
          <c:tx>
            <c:strRef>
              <c:f>'Seq 2024-2025'!$J$1</c:f>
              <c:strCache>
                <c:ptCount val="1"/>
                <c:pt idx="0">
                  <c:v>Pending </c:v>
                </c:pt>
              </c:strCache>
            </c:strRef>
          </c:tx>
          <c:spPr>
            <a:solidFill>
              <a:srgbClr val="FFC000"/>
            </a:solidFill>
            <a:ln>
              <a:solidFill>
                <a:srgbClr val="FFC000"/>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J$2:$J$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1</c:v>
                </c:pt>
                <c:pt idx="67">
                  <c:v>0</c:v>
                </c:pt>
                <c:pt idx="68">
                  <c:v>0</c:v>
                </c:pt>
                <c:pt idx="69">
                  <c:v>0</c:v>
                </c:pt>
                <c:pt idx="70">
                  <c:v>0</c:v>
                </c:pt>
                <c:pt idx="71">
                  <c:v>0</c:v>
                </c:pt>
                <c:pt idx="72">
                  <c:v>0</c:v>
                </c:pt>
                <c:pt idx="73">
                  <c:v>0</c:v>
                </c:pt>
                <c:pt idx="74">
                  <c:v>0</c:v>
                </c:pt>
                <c:pt idx="75">
                  <c:v>0</c:v>
                </c:pt>
                <c:pt idx="76">
                  <c:v>0</c:v>
                </c:pt>
                <c:pt idx="77">
                  <c:v>0</c:v>
                </c:pt>
                <c:pt idx="78">
                  <c:v>0</c:v>
                </c:pt>
                <c:pt idx="79">
                  <c:v>0</c:v>
                </c:pt>
                <c:pt idx="80">
                  <c:v>1</c:v>
                </c:pt>
              </c:numCache>
            </c:numRef>
          </c:val>
          <c:extLst>
            <c:ext xmlns:c16="http://schemas.microsoft.com/office/drawing/2014/chart" uri="{C3380CC4-5D6E-409C-BE32-E72D297353CC}">
              <c16:uniqueId val="{00000004-6DCF-4E8C-A0D0-FC2568DE483F}"/>
            </c:ext>
          </c:extLst>
        </c:ser>
        <c:ser>
          <c:idx val="2"/>
          <c:order val="5"/>
          <c:tx>
            <c:strRef>
              <c:f>'Seq 2024-2025'!$G$1</c:f>
              <c:strCache>
                <c:ptCount val="1"/>
                <c:pt idx="0">
                  <c:v>PCR only</c:v>
                </c:pt>
              </c:strCache>
            </c:strRef>
          </c:tx>
          <c:spPr>
            <a:solidFill>
              <a:schemeClr val="bg1">
                <a:lumMod val="85000"/>
              </a:schemeClr>
            </a:solidFill>
            <a:ln>
              <a:solidFill>
                <a:schemeClr val="bg1">
                  <a:lumMod val="85000"/>
                </a:schemeClr>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G$2:$G$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1</c:v>
                </c:pt>
                <c:pt idx="24">
                  <c:v>0</c:v>
                </c:pt>
                <c:pt idx="25">
                  <c:v>0</c:v>
                </c:pt>
                <c:pt idx="26">
                  <c:v>0</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c:v>
                </c:pt>
                <c:pt idx="46">
                  <c:v>0</c:v>
                </c:pt>
                <c:pt idx="47">
                  <c:v>0</c:v>
                </c:pt>
                <c:pt idx="48">
                  <c:v>0</c:v>
                </c:pt>
                <c:pt idx="49">
                  <c:v>2</c:v>
                </c:pt>
                <c:pt idx="50">
                  <c:v>4</c:v>
                </c:pt>
                <c:pt idx="51">
                  <c:v>0</c:v>
                </c:pt>
                <c:pt idx="52">
                  <c:v>0</c:v>
                </c:pt>
                <c:pt idx="53">
                  <c:v>3</c:v>
                </c:pt>
                <c:pt idx="54">
                  <c:v>1</c:v>
                </c:pt>
                <c:pt idx="55">
                  <c:v>1</c:v>
                </c:pt>
                <c:pt idx="56">
                  <c:v>0</c:v>
                </c:pt>
                <c:pt idx="57">
                  <c:v>1</c:v>
                </c:pt>
                <c:pt idx="58">
                  <c:v>3</c:v>
                </c:pt>
                <c:pt idx="59">
                  <c:v>2</c:v>
                </c:pt>
                <c:pt idx="60">
                  <c:v>3</c:v>
                </c:pt>
                <c:pt idx="61">
                  <c:v>1</c:v>
                </c:pt>
                <c:pt idx="62">
                  <c:v>3</c:v>
                </c:pt>
                <c:pt idx="63">
                  <c:v>1</c:v>
                </c:pt>
                <c:pt idx="64">
                  <c:v>1</c:v>
                </c:pt>
                <c:pt idx="65">
                  <c:v>0</c:v>
                </c:pt>
                <c:pt idx="66">
                  <c:v>4</c:v>
                </c:pt>
                <c:pt idx="67">
                  <c:v>3</c:v>
                </c:pt>
                <c:pt idx="68">
                  <c:v>2</c:v>
                </c:pt>
                <c:pt idx="69">
                  <c:v>1</c:v>
                </c:pt>
                <c:pt idx="70">
                  <c:v>0</c:v>
                </c:pt>
                <c:pt idx="71">
                  <c:v>2</c:v>
                </c:pt>
                <c:pt idx="72">
                  <c:v>1</c:v>
                </c:pt>
                <c:pt idx="73">
                  <c:v>0</c:v>
                </c:pt>
                <c:pt idx="74">
                  <c:v>1</c:v>
                </c:pt>
                <c:pt idx="75">
                  <c:v>0</c:v>
                </c:pt>
                <c:pt idx="76">
                  <c:v>0</c:v>
                </c:pt>
                <c:pt idx="77">
                  <c:v>2</c:v>
                </c:pt>
                <c:pt idx="78">
                  <c:v>1</c:v>
                </c:pt>
                <c:pt idx="79">
                  <c:v>0</c:v>
                </c:pt>
                <c:pt idx="80">
                  <c:v>5</c:v>
                </c:pt>
              </c:numCache>
            </c:numRef>
          </c:val>
          <c:extLst>
            <c:ext xmlns:c16="http://schemas.microsoft.com/office/drawing/2014/chart" uri="{C3380CC4-5D6E-409C-BE32-E72D297353CC}">
              <c16:uniqueId val="{00000005-6DCF-4E8C-A0D0-FC2568DE483F}"/>
            </c:ext>
          </c:extLst>
        </c:ser>
        <c:ser>
          <c:idx val="7"/>
          <c:order val="6"/>
          <c:tx>
            <c:strRef>
              <c:f>'Seq 2024-2025'!$I$1</c:f>
              <c:strCache>
                <c:ptCount val="1"/>
                <c:pt idx="0">
                  <c:v>isolate no longer viable</c:v>
                </c:pt>
              </c:strCache>
            </c:strRef>
          </c:tx>
          <c:spPr>
            <a:solidFill>
              <a:schemeClr val="accent2">
                <a:lumMod val="75000"/>
              </a:schemeClr>
            </a:solidFill>
            <a:ln>
              <a:solidFill>
                <a:schemeClr val="accent2">
                  <a:lumMod val="75000"/>
                </a:schemeClr>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I$2:$I$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1</c:v>
                </c:pt>
                <c:pt idx="53">
                  <c:v>1</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6-6DCF-4E8C-A0D0-FC2568DE483F}"/>
            </c:ext>
          </c:extLst>
        </c:ser>
        <c:ser>
          <c:idx val="6"/>
          <c:order val="7"/>
          <c:tx>
            <c:strRef>
              <c:f>'Seq 2024-2025'!$H$1</c:f>
              <c:strCache>
                <c:ptCount val="1"/>
                <c:pt idx="0">
                  <c:v>Sequencing failed</c:v>
                </c:pt>
              </c:strCache>
            </c:strRef>
          </c:tx>
          <c:spPr>
            <a:solidFill>
              <a:schemeClr val="tx1"/>
            </a:solidFill>
            <a:ln>
              <a:solidFill>
                <a:schemeClr val="tx1"/>
              </a:solidFill>
            </a:ln>
            <a:effectLst/>
          </c:spPr>
          <c:invertIfNegative val="0"/>
          <c:cat>
            <c:multiLvlStrRef>
              <c:f>'Seq 2024-2025'!$A$1:$B$109</c:f>
              <c:multiLvlStrCache>
                <c:ptCount val="105"/>
                <c:lvl>
                  <c:pt idx="0">
                    <c:v>week</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1</c:v>
                  </c:pt>
                  <c:pt idx="54">
                    <c:v>2</c:v>
                  </c:pt>
                  <c:pt idx="55">
                    <c:v>3</c:v>
                  </c:pt>
                  <c:pt idx="56">
                    <c:v>4</c:v>
                  </c:pt>
                  <c:pt idx="57">
                    <c:v>5</c:v>
                  </c:pt>
                  <c:pt idx="58">
                    <c:v>6</c:v>
                  </c:pt>
                  <c:pt idx="59">
                    <c:v>7</c:v>
                  </c:pt>
                  <c:pt idx="60">
                    <c:v>8</c:v>
                  </c:pt>
                  <c:pt idx="61">
                    <c:v>9</c:v>
                  </c:pt>
                  <c:pt idx="62">
                    <c:v>10</c:v>
                  </c:pt>
                  <c:pt idx="63">
                    <c:v>11</c:v>
                  </c:pt>
                  <c:pt idx="64">
                    <c:v>12</c:v>
                  </c:pt>
                  <c:pt idx="65">
                    <c:v>13</c:v>
                  </c:pt>
                  <c:pt idx="66">
                    <c:v>14</c:v>
                  </c:pt>
                  <c:pt idx="67">
                    <c:v>15</c:v>
                  </c:pt>
                  <c:pt idx="68">
                    <c:v>16</c:v>
                  </c:pt>
                  <c:pt idx="69">
                    <c:v>17</c:v>
                  </c:pt>
                  <c:pt idx="70">
                    <c:v>18</c:v>
                  </c:pt>
                  <c:pt idx="71">
                    <c:v>19</c:v>
                  </c:pt>
                  <c:pt idx="72">
                    <c:v>20</c:v>
                  </c:pt>
                  <c:pt idx="73">
                    <c:v>21</c:v>
                  </c:pt>
                  <c:pt idx="74">
                    <c:v>22</c:v>
                  </c:pt>
                  <c:pt idx="75">
                    <c:v>23</c:v>
                  </c:pt>
                  <c:pt idx="76">
                    <c:v>24</c:v>
                  </c:pt>
                  <c:pt idx="77">
                    <c:v>25</c:v>
                  </c:pt>
                  <c:pt idx="78">
                    <c:v>26</c:v>
                  </c:pt>
                  <c:pt idx="79">
                    <c:v>27</c:v>
                  </c:pt>
                  <c:pt idx="80">
                    <c:v>28</c:v>
                  </c:pt>
                  <c:pt idx="81">
                    <c:v>29</c:v>
                  </c:pt>
                  <c:pt idx="82">
                    <c:v>30</c:v>
                  </c:pt>
                  <c:pt idx="83">
                    <c:v>31</c:v>
                  </c:pt>
                  <c:pt idx="84">
                    <c:v>32</c:v>
                  </c:pt>
                  <c:pt idx="85">
                    <c:v>33</c:v>
                  </c:pt>
                  <c:pt idx="86">
                    <c:v>34</c:v>
                  </c:pt>
                  <c:pt idx="87">
                    <c:v>35</c:v>
                  </c:pt>
                  <c:pt idx="88">
                    <c:v>36</c:v>
                  </c:pt>
                  <c:pt idx="89">
                    <c:v>37</c:v>
                  </c:pt>
                  <c:pt idx="90">
                    <c:v>38</c:v>
                  </c:pt>
                  <c:pt idx="91">
                    <c:v>39</c:v>
                  </c:pt>
                  <c:pt idx="92">
                    <c:v>40</c:v>
                  </c:pt>
                  <c:pt idx="93">
                    <c:v>41</c:v>
                  </c:pt>
                  <c:pt idx="94">
                    <c:v>42</c:v>
                  </c:pt>
                  <c:pt idx="95">
                    <c:v>43</c:v>
                  </c:pt>
                  <c:pt idx="96">
                    <c:v>44</c:v>
                  </c:pt>
                  <c:pt idx="97">
                    <c:v>45</c:v>
                  </c:pt>
                  <c:pt idx="98">
                    <c:v>46</c:v>
                  </c:pt>
                  <c:pt idx="99">
                    <c:v>47</c:v>
                  </c:pt>
                  <c:pt idx="100">
                    <c:v>48</c:v>
                  </c:pt>
                  <c:pt idx="101">
                    <c:v>49</c:v>
                  </c:pt>
                  <c:pt idx="102">
                    <c:v>50</c:v>
                  </c:pt>
                  <c:pt idx="103">
                    <c:v>51</c:v>
                  </c:pt>
                  <c:pt idx="104">
                    <c:v>52</c:v>
                  </c:pt>
                </c:lvl>
                <c:lvl>
                  <c:pt idx="0">
                    <c:v>year</c:v>
                  </c:pt>
                  <c:pt idx="1">
                    <c:v>2024</c:v>
                  </c:pt>
                  <c:pt idx="53">
                    <c:v>2025</c:v>
                  </c:pt>
                </c:lvl>
              </c:multiLvlStrCache>
            </c:multiLvlStrRef>
          </c:cat>
          <c:val>
            <c:numRef>
              <c:f>'Seq 2024-2025'!$H$2:$H$82</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1</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numCache>
            </c:numRef>
          </c:val>
          <c:extLst>
            <c:ext xmlns:c16="http://schemas.microsoft.com/office/drawing/2014/chart" uri="{C3380CC4-5D6E-409C-BE32-E72D297353CC}">
              <c16:uniqueId val="{00000007-6DCF-4E8C-A0D0-FC2568DE483F}"/>
            </c:ext>
          </c:extLst>
        </c:ser>
        <c:dLbls>
          <c:showLegendKey val="0"/>
          <c:showVal val="0"/>
          <c:showCatName val="0"/>
          <c:showSerName val="0"/>
          <c:showPercent val="0"/>
          <c:showBubbleSize val="0"/>
        </c:dLbls>
        <c:gapWidth val="0"/>
        <c:overlap val="100"/>
        <c:axId val="826075567"/>
        <c:axId val="826053007"/>
      </c:barChart>
      <c:catAx>
        <c:axId val="82607556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6053007"/>
        <c:crosses val="autoZero"/>
        <c:auto val="1"/>
        <c:lblAlgn val="ctr"/>
        <c:lblOffset val="100"/>
        <c:noMultiLvlLbl val="0"/>
      </c:catAx>
      <c:valAx>
        <c:axId val="826053007"/>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6075567"/>
        <c:crossesAt val="1"/>
        <c:crossBetween val="between"/>
      </c:valAx>
      <c:spPr>
        <a:noFill/>
        <a:ln>
          <a:noFill/>
        </a:ln>
        <a:effectLst/>
      </c:spPr>
    </c:plotArea>
    <c:legend>
      <c:legendPos val="b"/>
      <c:layout>
        <c:manualLayout>
          <c:xMode val="edge"/>
          <c:yMode val="edge"/>
          <c:x val="5.5353055839926862E-2"/>
          <c:y val="0.24336441575549642"/>
          <c:w val="0.35656751572972839"/>
          <c:h val="0.3475751926843405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236404039192048E-2"/>
          <c:y val="6.0492466082913282E-2"/>
          <c:w val="0.94600424537828987"/>
          <c:h val="0.68923385543851334"/>
        </c:manualLayout>
      </c:layout>
      <c:barChart>
        <c:barDir val="col"/>
        <c:grouping val="stacked"/>
        <c:varyColors val="0"/>
        <c:ser>
          <c:idx val="0"/>
          <c:order val="0"/>
          <c:tx>
            <c:strRef>
              <c:f>'Seq (2015-2023)'!$C$1</c:f>
              <c:strCache>
                <c:ptCount val="1"/>
                <c:pt idx="0">
                  <c:v>ST 378</c:v>
                </c:pt>
              </c:strCache>
            </c:strRef>
          </c:tx>
          <c:spPr>
            <a:solidFill>
              <a:schemeClr val="accent6">
                <a:lumMod val="75000"/>
              </a:schemeClr>
            </a:solidFill>
            <a:ln>
              <a:solidFill>
                <a:schemeClr val="accent6">
                  <a:lumMod val="75000"/>
                </a:schemeClr>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C$2:$C$109</c:f>
              <c:numCache>
                <c:formatCode>General</c:formatCode>
                <c:ptCount val="108"/>
                <c:pt idx="0">
                  <c:v>0</c:v>
                </c:pt>
                <c:pt idx="1">
                  <c:v>0</c:v>
                </c:pt>
                <c:pt idx="2">
                  <c:v>3</c:v>
                </c:pt>
                <c:pt idx="3">
                  <c:v>3</c:v>
                </c:pt>
                <c:pt idx="4">
                  <c:v>6</c:v>
                </c:pt>
                <c:pt idx="5">
                  <c:v>5</c:v>
                </c:pt>
                <c:pt idx="6">
                  <c:v>0</c:v>
                </c:pt>
                <c:pt idx="7">
                  <c:v>0</c:v>
                </c:pt>
                <c:pt idx="8">
                  <c:v>0</c:v>
                </c:pt>
                <c:pt idx="9">
                  <c:v>0</c:v>
                </c:pt>
                <c:pt idx="10">
                  <c:v>0</c:v>
                </c:pt>
                <c:pt idx="11">
                  <c:v>0</c:v>
                </c:pt>
                <c:pt idx="12">
                  <c:v>0</c:v>
                </c:pt>
                <c:pt idx="13">
                  <c:v>0</c:v>
                </c:pt>
                <c:pt idx="14">
                  <c:v>0</c:v>
                </c:pt>
                <c:pt idx="15">
                  <c:v>0</c:v>
                </c:pt>
                <c:pt idx="16">
                  <c:v>2</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4</c:v>
                </c:pt>
                <c:pt idx="32">
                  <c:v>0</c:v>
                </c:pt>
                <c:pt idx="33">
                  <c:v>0</c:v>
                </c:pt>
                <c:pt idx="34">
                  <c:v>0</c:v>
                </c:pt>
                <c:pt idx="35">
                  <c:v>0</c:v>
                </c:pt>
                <c:pt idx="36">
                  <c:v>0</c:v>
                </c:pt>
                <c:pt idx="37">
                  <c:v>0</c:v>
                </c:pt>
                <c:pt idx="38">
                  <c:v>0</c:v>
                </c:pt>
                <c:pt idx="39">
                  <c:v>3</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1</c:v>
                </c:pt>
                <c:pt idx="61">
                  <c:v>0</c:v>
                </c:pt>
                <c:pt idx="62">
                  <c:v>0</c:v>
                </c:pt>
                <c:pt idx="63">
                  <c:v>0</c:v>
                </c:pt>
                <c:pt idx="64">
                  <c:v>0</c:v>
                </c:pt>
                <c:pt idx="65">
                  <c:v>0</c:v>
                </c:pt>
                <c:pt idx="66">
                  <c:v>1</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1</c:v>
                </c:pt>
                <c:pt idx="104">
                  <c:v>0</c:v>
                </c:pt>
                <c:pt idx="105">
                  <c:v>0</c:v>
                </c:pt>
                <c:pt idx="106">
                  <c:v>0</c:v>
                </c:pt>
                <c:pt idx="107">
                  <c:v>0</c:v>
                </c:pt>
              </c:numCache>
            </c:numRef>
          </c:val>
          <c:extLst>
            <c:ext xmlns:c16="http://schemas.microsoft.com/office/drawing/2014/chart" uri="{C3380CC4-5D6E-409C-BE32-E72D297353CC}">
              <c16:uniqueId val="{00000000-EF46-474E-B690-862CEB4C3FFF}"/>
            </c:ext>
          </c:extLst>
        </c:ser>
        <c:ser>
          <c:idx val="1"/>
          <c:order val="1"/>
          <c:tx>
            <c:strRef>
              <c:f>'Seq (2015-2023)'!$D$1</c:f>
              <c:strCache>
                <c:ptCount val="1"/>
                <c:pt idx="0">
                  <c:v>ST 824</c:v>
                </c:pt>
              </c:strCache>
            </c:strRef>
          </c:tx>
          <c:spPr>
            <a:solidFill>
              <a:srgbClr val="A0D9DC"/>
            </a:solidFill>
            <a:ln>
              <a:solidFill>
                <a:srgbClr val="A0D9DC"/>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D$2:$D$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1-EF46-474E-B690-862CEB4C3FFF}"/>
            </c:ext>
          </c:extLst>
        </c:ser>
        <c:ser>
          <c:idx val="4"/>
          <c:order val="2"/>
          <c:tx>
            <c:strRef>
              <c:f>'Seq (2015-2023)'!$E$1</c:f>
              <c:strCache>
                <c:ptCount val="1"/>
                <c:pt idx="0">
                  <c:v>ST 905</c:v>
                </c:pt>
              </c:strCache>
            </c:strRef>
          </c:tx>
          <c:spPr>
            <a:solidFill>
              <a:srgbClr val="F278F5"/>
            </a:solidFill>
            <a:ln>
              <a:solidFill>
                <a:srgbClr val="F278F5"/>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E$2:$E$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1</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2-EF46-474E-B690-862CEB4C3FFF}"/>
            </c:ext>
          </c:extLst>
        </c:ser>
        <c:ser>
          <c:idx val="2"/>
          <c:order val="3"/>
          <c:tx>
            <c:strRef>
              <c:f>'Seq (2015-2023)'!$G$1</c:f>
              <c:strCache>
                <c:ptCount val="1"/>
                <c:pt idx="0">
                  <c:v>PCR only</c:v>
                </c:pt>
              </c:strCache>
            </c:strRef>
          </c:tx>
          <c:spPr>
            <a:solidFill>
              <a:schemeClr val="bg1">
                <a:lumMod val="75000"/>
              </a:schemeClr>
            </a:solidFill>
            <a:ln>
              <a:solidFill>
                <a:schemeClr val="bg1">
                  <a:lumMod val="75000"/>
                </a:schemeClr>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G$2:$G$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3-EF46-474E-B690-862CEB4C3FFF}"/>
            </c:ext>
          </c:extLst>
        </c:ser>
        <c:ser>
          <c:idx val="3"/>
          <c:order val="4"/>
          <c:tx>
            <c:strRef>
              <c:f>'Seq (2015-2023)'!$J$1</c:f>
              <c:strCache>
                <c:ptCount val="1"/>
                <c:pt idx="0">
                  <c:v>Pending </c:v>
                </c:pt>
              </c:strCache>
            </c:strRef>
          </c:tx>
          <c:spPr>
            <a:solidFill>
              <a:schemeClr val="bg2">
                <a:lumMod val="75000"/>
              </a:schemeClr>
            </a:solidFill>
            <a:ln>
              <a:solidFill>
                <a:schemeClr val="bg2">
                  <a:lumMod val="75000"/>
                </a:schemeClr>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J$2:$J$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4-EF46-474E-B690-862CEB4C3FFF}"/>
            </c:ext>
          </c:extLst>
        </c:ser>
        <c:ser>
          <c:idx val="5"/>
          <c:order val="5"/>
          <c:tx>
            <c:strRef>
              <c:f>'Seq (2015-2023)'!$F$1</c:f>
              <c:strCache>
                <c:ptCount val="1"/>
                <c:pt idx="0">
                  <c:v>ST 906</c:v>
                </c:pt>
              </c:strCache>
            </c:strRef>
          </c:tx>
          <c:spPr>
            <a:solidFill>
              <a:schemeClr val="tx2">
                <a:lumMod val="60000"/>
                <a:lumOff val="40000"/>
              </a:schemeClr>
            </a:solidFill>
            <a:ln>
              <a:solidFill>
                <a:schemeClr val="tx2">
                  <a:lumMod val="60000"/>
                  <a:lumOff val="40000"/>
                </a:schemeClr>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F$2:$F$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2</c:v>
                </c:pt>
                <c:pt idx="100">
                  <c:v>0</c:v>
                </c:pt>
                <c:pt idx="101">
                  <c:v>0</c:v>
                </c:pt>
                <c:pt idx="102">
                  <c:v>0</c:v>
                </c:pt>
                <c:pt idx="103">
                  <c:v>0</c:v>
                </c:pt>
                <c:pt idx="104">
                  <c:v>1</c:v>
                </c:pt>
                <c:pt idx="105">
                  <c:v>1</c:v>
                </c:pt>
                <c:pt idx="106">
                  <c:v>8</c:v>
                </c:pt>
                <c:pt idx="107">
                  <c:v>0</c:v>
                </c:pt>
              </c:numCache>
            </c:numRef>
          </c:val>
          <c:extLst>
            <c:ext xmlns:c16="http://schemas.microsoft.com/office/drawing/2014/chart" uri="{C3380CC4-5D6E-409C-BE32-E72D297353CC}">
              <c16:uniqueId val="{00000005-EF46-474E-B690-862CEB4C3FFF}"/>
            </c:ext>
          </c:extLst>
        </c:ser>
        <c:ser>
          <c:idx val="6"/>
          <c:order val="6"/>
          <c:tx>
            <c:strRef>
              <c:f>'Seq (2015-2023)'!$H$1</c:f>
              <c:strCache>
                <c:ptCount val="1"/>
                <c:pt idx="0">
                  <c:v>Sequencing failed</c:v>
                </c:pt>
              </c:strCache>
            </c:strRef>
          </c:tx>
          <c:spPr>
            <a:solidFill>
              <a:schemeClr val="tx1">
                <a:lumMod val="50000"/>
                <a:lumOff val="50000"/>
              </a:schemeClr>
            </a:solidFill>
            <a:ln>
              <a:solidFill>
                <a:schemeClr val="tx1">
                  <a:lumMod val="50000"/>
                  <a:lumOff val="50000"/>
                </a:schemeClr>
              </a:solid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H$2:$H$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6-EF46-474E-B690-862CEB4C3FFF}"/>
            </c:ext>
          </c:extLst>
        </c:ser>
        <c:ser>
          <c:idx val="7"/>
          <c:order val="7"/>
          <c:tx>
            <c:strRef>
              <c:f>'Seq (2015-2023)'!$I$1</c:f>
              <c:strCache>
                <c:ptCount val="1"/>
                <c:pt idx="0">
                  <c:v>isolate no longer viable</c:v>
                </c:pt>
              </c:strCache>
            </c:strRef>
          </c:tx>
          <c:spPr>
            <a:solidFill>
              <a:schemeClr val="accent2">
                <a:lumMod val="60000"/>
              </a:schemeClr>
            </a:solidFill>
            <a:ln>
              <a:noFill/>
            </a:ln>
            <a:effectLst/>
          </c:spPr>
          <c:invertIfNegative val="0"/>
          <c:cat>
            <c:multiLvlStrRef>
              <c:f>'Seq (2015-2023)'!$A$1:$B$109</c:f>
              <c:multiLvlStrCache>
                <c:ptCount val="109"/>
                <c:lvl>
                  <c:pt idx="0">
                    <c:v>month</c:v>
                  </c:pt>
                  <c:pt idx="1">
                    <c:v>Jan</c:v>
                  </c:pt>
                  <c:pt idx="2">
                    <c:v>Feb</c:v>
                  </c:pt>
                  <c:pt idx="3">
                    <c:v>March</c:v>
                  </c:pt>
                  <c:pt idx="4">
                    <c:v>April</c:v>
                  </c:pt>
                  <c:pt idx="5">
                    <c:v>May</c:v>
                  </c:pt>
                  <c:pt idx="6">
                    <c:v>June</c:v>
                  </c:pt>
                  <c:pt idx="7">
                    <c:v>July</c:v>
                  </c:pt>
                  <c:pt idx="8">
                    <c:v>Aug</c:v>
                  </c:pt>
                  <c:pt idx="9">
                    <c:v>Sept</c:v>
                  </c:pt>
                  <c:pt idx="10">
                    <c:v>Oct</c:v>
                  </c:pt>
                  <c:pt idx="11">
                    <c:v>Nove</c:v>
                  </c:pt>
                  <c:pt idx="12">
                    <c:v>Dec</c:v>
                  </c:pt>
                  <c:pt idx="13">
                    <c:v>Jan</c:v>
                  </c:pt>
                  <c:pt idx="14">
                    <c:v>Feb</c:v>
                  </c:pt>
                  <c:pt idx="15">
                    <c:v>March</c:v>
                  </c:pt>
                  <c:pt idx="16">
                    <c:v>April</c:v>
                  </c:pt>
                  <c:pt idx="17">
                    <c:v>May</c:v>
                  </c:pt>
                  <c:pt idx="18">
                    <c:v>June</c:v>
                  </c:pt>
                  <c:pt idx="19">
                    <c:v>July</c:v>
                  </c:pt>
                  <c:pt idx="20">
                    <c:v>Aug</c:v>
                  </c:pt>
                  <c:pt idx="21">
                    <c:v>Sept</c:v>
                  </c:pt>
                  <c:pt idx="22">
                    <c:v>Oct</c:v>
                  </c:pt>
                  <c:pt idx="23">
                    <c:v>Nove</c:v>
                  </c:pt>
                  <c:pt idx="24">
                    <c:v>Dec</c:v>
                  </c:pt>
                  <c:pt idx="25">
                    <c:v>Jan</c:v>
                  </c:pt>
                  <c:pt idx="26">
                    <c:v>Feb</c:v>
                  </c:pt>
                  <c:pt idx="27">
                    <c:v>March</c:v>
                  </c:pt>
                  <c:pt idx="28">
                    <c:v>April</c:v>
                  </c:pt>
                  <c:pt idx="29">
                    <c:v>May</c:v>
                  </c:pt>
                  <c:pt idx="30">
                    <c:v>June</c:v>
                  </c:pt>
                  <c:pt idx="31">
                    <c:v>July</c:v>
                  </c:pt>
                  <c:pt idx="32">
                    <c:v>Aug</c:v>
                  </c:pt>
                  <c:pt idx="33">
                    <c:v>Sept</c:v>
                  </c:pt>
                  <c:pt idx="34">
                    <c:v>Oct</c:v>
                  </c:pt>
                  <c:pt idx="35">
                    <c:v>Nove</c:v>
                  </c:pt>
                  <c:pt idx="36">
                    <c:v>Dec</c:v>
                  </c:pt>
                  <c:pt idx="37">
                    <c:v>Jan</c:v>
                  </c:pt>
                  <c:pt idx="38">
                    <c:v>Feb</c:v>
                  </c:pt>
                  <c:pt idx="39">
                    <c:v>March</c:v>
                  </c:pt>
                  <c:pt idx="40">
                    <c:v>April</c:v>
                  </c:pt>
                  <c:pt idx="41">
                    <c:v>May</c:v>
                  </c:pt>
                  <c:pt idx="42">
                    <c:v>June</c:v>
                  </c:pt>
                  <c:pt idx="43">
                    <c:v>July</c:v>
                  </c:pt>
                  <c:pt idx="44">
                    <c:v>Aug</c:v>
                  </c:pt>
                  <c:pt idx="45">
                    <c:v>Sept</c:v>
                  </c:pt>
                  <c:pt idx="46">
                    <c:v>Oct</c:v>
                  </c:pt>
                  <c:pt idx="47">
                    <c:v>Nove</c:v>
                  </c:pt>
                  <c:pt idx="48">
                    <c:v>Dec</c:v>
                  </c:pt>
                  <c:pt idx="49">
                    <c:v>Jan</c:v>
                  </c:pt>
                  <c:pt idx="50">
                    <c:v>Feb</c:v>
                  </c:pt>
                  <c:pt idx="51">
                    <c:v>March</c:v>
                  </c:pt>
                  <c:pt idx="52">
                    <c:v>April</c:v>
                  </c:pt>
                  <c:pt idx="53">
                    <c:v>May</c:v>
                  </c:pt>
                  <c:pt idx="54">
                    <c:v>June</c:v>
                  </c:pt>
                  <c:pt idx="55">
                    <c:v>July</c:v>
                  </c:pt>
                  <c:pt idx="56">
                    <c:v>Aug</c:v>
                  </c:pt>
                  <c:pt idx="57">
                    <c:v>Sept</c:v>
                  </c:pt>
                  <c:pt idx="58">
                    <c:v>Oct</c:v>
                  </c:pt>
                  <c:pt idx="59">
                    <c:v>Nove</c:v>
                  </c:pt>
                  <c:pt idx="60">
                    <c:v>Dec</c:v>
                  </c:pt>
                  <c:pt idx="61">
                    <c:v>Jan</c:v>
                  </c:pt>
                  <c:pt idx="62">
                    <c:v>Feb</c:v>
                  </c:pt>
                  <c:pt idx="63">
                    <c:v>March</c:v>
                  </c:pt>
                  <c:pt idx="64">
                    <c:v>April</c:v>
                  </c:pt>
                  <c:pt idx="65">
                    <c:v>May</c:v>
                  </c:pt>
                  <c:pt idx="66">
                    <c:v>June</c:v>
                  </c:pt>
                  <c:pt idx="67">
                    <c:v>July</c:v>
                  </c:pt>
                  <c:pt idx="68">
                    <c:v>Aug</c:v>
                  </c:pt>
                  <c:pt idx="69">
                    <c:v>Sept</c:v>
                  </c:pt>
                  <c:pt idx="70">
                    <c:v>Oct</c:v>
                  </c:pt>
                  <c:pt idx="71">
                    <c:v>Nove</c:v>
                  </c:pt>
                  <c:pt idx="72">
                    <c:v>Dec</c:v>
                  </c:pt>
                  <c:pt idx="73">
                    <c:v>Jan</c:v>
                  </c:pt>
                  <c:pt idx="74">
                    <c:v>Feb</c:v>
                  </c:pt>
                  <c:pt idx="75">
                    <c:v>March</c:v>
                  </c:pt>
                  <c:pt idx="76">
                    <c:v>April</c:v>
                  </c:pt>
                  <c:pt idx="77">
                    <c:v>May</c:v>
                  </c:pt>
                  <c:pt idx="78">
                    <c:v>June</c:v>
                  </c:pt>
                  <c:pt idx="79">
                    <c:v>July</c:v>
                  </c:pt>
                  <c:pt idx="80">
                    <c:v>Aug</c:v>
                  </c:pt>
                  <c:pt idx="81">
                    <c:v>Sept</c:v>
                  </c:pt>
                  <c:pt idx="82">
                    <c:v>Oct</c:v>
                  </c:pt>
                  <c:pt idx="83">
                    <c:v>Nove</c:v>
                  </c:pt>
                  <c:pt idx="84">
                    <c:v>Dec</c:v>
                  </c:pt>
                  <c:pt idx="85">
                    <c:v>Jan</c:v>
                  </c:pt>
                  <c:pt idx="86">
                    <c:v>Feb</c:v>
                  </c:pt>
                  <c:pt idx="87">
                    <c:v>March</c:v>
                  </c:pt>
                  <c:pt idx="88">
                    <c:v>April</c:v>
                  </c:pt>
                  <c:pt idx="89">
                    <c:v>May</c:v>
                  </c:pt>
                  <c:pt idx="90">
                    <c:v>June</c:v>
                  </c:pt>
                  <c:pt idx="91">
                    <c:v>July</c:v>
                  </c:pt>
                  <c:pt idx="92">
                    <c:v>Aug</c:v>
                  </c:pt>
                  <c:pt idx="93">
                    <c:v>Sept</c:v>
                  </c:pt>
                  <c:pt idx="94">
                    <c:v>Oct</c:v>
                  </c:pt>
                  <c:pt idx="95">
                    <c:v>Nove</c:v>
                  </c:pt>
                  <c:pt idx="96">
                    <c:v>Dec</c:v>
                  </c:pt>
                  <c:pt idx="97">
                    <c:v>Jan</c:v>
                  </c:pt>
                  <c:pt idx="98">
                    <c:v>Feb</c:v>
                  </c:pt>
                  <c:pt idx="99">
                    <c:v>March</c:v>
                  </c:pt>
                  <c:pt idx="100">
                    <c:v>April</c:v>
                  </c:pt>
                  <c:pt idx="101">
                    <c:v>May</c:v>
                  </c:pt>
                  <c:pt idx="102">
                    <c:v>June</c:v>
                  </c:pt>
                  <c:pt idx="103">
                    <c:v>July</c:v>
                  </c:pt>
                  <c:pt idx="104">
                    <c:v>Aug</c:v>
                  </c:pt>
                  <c:pt idx="105">
                    <c:v>Sept</c:v>
                  </c:pt>
                  <c:pt idx="106">
                    <c:v>Oct</c:v>
                  </c:pt>
                  <c:pt idx="107">
                    <c:v>Nove</c:v>
                  </c:pt>
                  <c:pt idx="108">
                    <c:v>Dec</c:v>
                  </c:pt>
                </c:lvl>
                <c:lvl>
                  <c:pt idx="0">
                    <c:v>year</c:v>
                  </c:pt>
                  <c:pt idx="1">
                    <c:v>2015</c:v>
                  </c:pt>
                  <c:pt idx="13">
                    <c:v>2016</c:v>
                  </c:pt>
                  <c:pt idx="25">
                    <c:v>2017</c:v>
                  </c:pt>
                  <c:pt idx="37">
                    <c:v>2018</c:v>
                  </c:pt>
                  <c:pt idx="49">
                    <c:v>2019</c:v>
                  </c:pt>
                  <c:pt idx="61">
                    <c:v>2020</c:v>
                  </c:pt>
                  <c:pt idx="73">
                    <c:v>2021</c:v>
                  </c:pt>
                  <c:pt idx="85">
                    <c:v>2022</c:v>
                  </c:pt>
                  <c:pt idx="97">
                    <c:v>2023</c:v>
                  </c:pt>
                </c:lvl>
              </c:multiLvlStrCache>
            </c:multiLvlStrRef>
          </c:cat>
          <c:val>
            <c:numRef>
              <c:f>'Seq (2015-2023)'!$I$2:$I$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7-EF46-474E-B690-862CEB4C3FFF}"/>
            </c:ext>
          </c:extLst>
        </c:ser>
        <c:dLbls>
          <c:showLegendKey val="0"/>
          <c:showVal val="0"/>
          <c:showCatName val="0"/>
          <c:showSerName val="0"/>
          <c:showPercent val="0"/>
          <c:showBubbleSize val="0"/>
        </c:dLbls>
        <c:gapWidth val="0"/>
        <c:overlap val="100"/>
        <c:axId val="826075567"/>
        <c:axId val="826053007"/>
      </c:barChart>
      <c:catAx>
        <c:axId val="82607556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6053007"/>
        <c:crosses val="autoZero"/>
        <c:auto val="1"/>
        <c:lblAlgn val="ctr"/>
        <c:lblOffset val="100"/>
        <c:noMultiLvlLbl val="0"/>
      </c:catAx>
      <c:valAx>
        <c:axId val="82605300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a:solidFill>
                      <a:sysClr val="windowText" lastClr="000000"/>
                    </a:solidFill>
                  </a:rPr>
                  <a:t>No.</a:t>
                </a:r>
                <a:r>
                  <a:rPr lang="en-US" sz="1400" baseline="0">
                    <a:solidFill>
                      <a:sysClr val="windowText" lastClr="000000"/>
                    </a:solidFill>
                  </a:rPr>
                  <a:t> of isolates</a:t>
                </a:r>
                <a:endParaRPr lang="en-US" sz="1400">
                  <a:solidFill>
                    <a:sysClr val="windowText" lastClr="000000"/>
                  </a:solidFill>
                </a:endParaRPr>
              </a:p>
            </c:rich>
          </c:tx>
          <c:layout/>
          <c:overlay val="0"/>
          <c:spPr>
            <a:solidFill>
              <a:sysClr val="window" lastClr="FFFFFF"/>
            </a:solid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607556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96682BF1-114E-4F1F-87F9-A23C1C30EC1A}" type="datetimeFigureOut">
              <a:rPr lang="en-ZA" smtClean="0"/>
              <a:t>10 Sep 2025</a:t>
            </a:fld>
            <a:endParaRPr lang="en-ZA"/>
          </a:p>
        </p:txBody>
      </p:sp>
      <p:sp>
        <p:nvSpPr>
          <p:cNvPr id="4" name="Footer Placeholder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38C86F8D-B79F-4B27-8120-000AD6A510A7}" type="slidenum">
              <a:rPr lang="en-ZA" smtClean="0"/>
              <a:t>‹#›</a:t>
            </a:fld>
            <a:endParaRPr lang="en-ZA"/>
          </a:p>
        </p:txBody>
      </p:sp>
    </p:spTree>
    <p:extLst>
      <p:ext uri="{BB962C8B-B14F-4D97-AF65-F5344CB8AC3E}">
        <p14:creationId xmlns:p14="http://schemas.microsoft.com/office/powerpoint/2010/main" val="32466598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C7E8F8C5-428F-4EA0-83CE-EE97451FF00F}" type="datetimeFigureOut">
              <a:rPr lang="en-US" smtClean="0"/>
              <a:t>9/10/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C429AFB8-0CC5-46E7-9FB4-8F0F9C258461}" type="slidenum">
              <a:rPr lang="en-US" smtClean="0"/>
              <a:t>‹#›</a:t>
            </a:fld>
            <a:endParaRPr lang="en-US"/>
          </a:p>
        </p:txBody>
      </p:sp>
    </p:spTree>
    <p:extLst>
      <p:ext uri="{BB962C8B-B14F-4D97-AF65-F5344CB8AC3E}">
        <p14:creationId xmlns:p14="http://schemas.microsoft.com/office/powerpoint/2010/main" val="3859927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C429AFB8-0CC5-46E7-9FB4-8F0F9C258461}" type="slidenum">
              <a:rPr lang="en-US" smtClean="0"/>
              <a:t>1</a:t>
            </a:fld>
            <a:endParaRPr lang="en-US"/>
          </a:p>
        </p:txBody>
      </p:sp>
    </p:spTree>
    <p:extLst>
      <p:ext uri="{BB962C8B-B14F-4D97-AF65-F5344CB8AC3E}">
        <p14:creationId xmlns:p14="http://schemas.microsoft.com/office/powerpoint/2010/main" val="1214023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429AFB8-0CC5-46E7-9FB4-8F0F9C258461}" type="slidenum">
              <a:rPr lang="en-US" smtClean="0"/>
              <a:t>13</a:t>
            </a:fld>
            <a:endParaRPr lang="en-US"/>
          </a:p>
        </p:txBody>
      </p:sp>
    </p:spTree>
    <p:extLst>
      <p:ext uri="{BB962C8B-B14F-4D97-AF65-F5344CB8AC3E}">
        <p14:creationId xmlns:p14="http://schemas.microsoft.com/office/powerpoint/2010/main" val="11174882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he overall case-fatality ratio (CFR) among probable and confirmed respiratory diphtheria cases was 20% (13/66). Among children and adolescents aged &lt; 18 years, the CFR was 20% (4/20), compared to 20% (9/46) among adul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F9CE8-EBCB-4D15-B8A1-AFA3085DCD3A}"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435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33F9CE8-EBCB-4D15-B8A1-AFA3085DCD3A}" type="slidenum">
              <a:rPr lang="en-ZA" smtClean="0"/>
              <a:t>15</a:t>
            </a:fld>
            <a:endParaRPr lang="en-ZA"/>
          </a:p>
        </p:txBody>
      </p:sp>
    </p:spTree>
    <p:extLst>
      <p:ext uri="{BB962C8B-B14F-4D97-AF65-F5344CB8AC3E}">
        <p14:creationId xmlns:p14="http://schemas.microsoft.com/office/powerpoint/2010/main" val="864589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ZA"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A875B3-D92F-443D-BAE4-499C8381D4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5947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D99FA-2E7D-4E56-BCD7-F77C7F2D5C4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11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C26CA-B1C8-4791-A552-2E36183136E7}"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7264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63D611-CC36-4435-B233-206DBC7CD92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7817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429AFB8-0CC5-46E7-9FB4-8F0F9C258461}" type="slidenum">
              <a:rPr lang="en-US" smtClean="0"/>
              <a:t>2</a:t>
            </a:fld>
            <a:endParaRPr lang="en-US"/>
          </a:p>
        </p:txBody>
      </p:sp>
    </p:spTree>
    <p:extLst>
      <p:ext uri="{BB962C8B-B14F-4D97-AF65-F5344CB8AC3E}">
        <p14:creationId xmlns:p14="http://schemas.microsoft.com/office/powerpoint/2010/main" val="3211327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662CB2E-C901-48EF-AE41-FE3E37CDA94A}" type="slidenum">
              <a:rPr lang="en-ZA" smtClean="0"/>
              <a:t>3</a:t>
            </a:fld>
            <a:endParaRPr lang="en-ZA"/>
          </a:p>
        </p:txBody>
      </p:sp>
    </p:spTree>
    <p:extLst>
      <p:ext uri="{BB962C8B-B14F-4D97-AF65-F5344CB8AC3E}">
        <p14:creationId xmlns:p14="http://schemas.microsoft.com/office/powerpoint/2010/main" val="2669484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CA609-6738-C242-9EF8-1A273B1927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324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29AFB8-0CC5-46E7-9FB4-8F0F9C258461}" type="slidenum">
              <a:rPr lang="en-US" smtClean="0"/>
              <a:t>5</a:t>
            </a:fld>
            <a:endParaRPr lang="en-US"/>
          </a:p>
        </p:txBody>
      </p:sp>
    </p:spTree>
    <p:extLst>
      <p:ext uri="{BB962C8B-B14F-4D97-AF65-F5344CB8AC3E}">
        <p14:creationId xmlns:p14="http://schemas.microsoft.com/office/powerpoint/2010/main" val="2345354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46C0EB-2D2E-4ABA-9585-D2FD448550BC}"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025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dirty="0"/>
              <a:t>WGS:</a:t>
            </a:r>
            <a:r>
              <a:rPr lang="en-US" baseline="0" dirty="0"/>
              <a:t> </a:t>
            </a:r>
            <a:r>
              <a:rPr lang="en-US" dirty="0"/>
              <a:t>Increase</a:t>
            </a:r>
            <a:r>
              <a:rPr lang="en-US" baseline="0" dirty="0"/>
              <a:t> in serotype 8 is due to pre-existing lineage (ST53)</a:t>
            </a:r>
            <a:endParaRPr lang="en-ZA" dirty="0"/>
          </a:p>
        </p:txBody>
      </p:sp>
    </p:spTree>
    <p:extLst>
      <p:ext uri="{BB962C8B-B14F-4D97-AF65-F5344CB8AC3E}">
        <p14:creationId xmlns:p14="http://schemas.microsoft.com/office/powerpoint/2010/main" val="1039228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smtClean="0"/>
              <a:t>NmW</a:t>
            </a:r>
            <a:r>
              <a:rPr lang="en-US" baseline="0" dirty="0" smtClean="0"/>
              <a:t>, and less frequently, </a:t>
            </a:r>
            <a:r>
              <a:rPr lang="en-US" baseline="0" dirty="0" err="1" smtClean="0"/>
              <a:t>NmB</a:t>
            </a:r>
            <a:r>
              <a:rPr lang="en-US" baseline="0" dirty="0" smtClean="0"/>
              <a:t>. </a:t>
            </a:r>
          </a:p>
          <a:p>
            <a:r>
              <a:rPr lang="en-US" baseline="0" dirty="0" smtClean="0"/>
              <a:t>CC11 </a:t>
            </a:r>
            <a:r>
              <a:rPr lang="en-US" baseline="0" dirty="0" err="1" smtClean="0"/>
              <a:t>NmW</a:t>
            </a:r>
            <a:r>
              <a:rPr lang="en-US" baseline="0" dirty="0" smtClean="0"/>
              <a:t> has caused epidemics across the globe, having emerged from an outbreak in</a:t>
            </a:r>
          </a:p>
          <a:p>
            <a:r>
              <a:rPr lang="en-US" baseline="0" dirty="0" smtClean="0"/>
              <a:t>Saudi Arabia in 2000 [44]</a:t>
            </a:r>
          </a:p>
          <a:p>
            <a:r>
              <a:rPr lang="en-US" baseline="0" dirty="0" smtClean="0"/>
              <a:t>    </a:t>
            </a:r>
            <a:endParaRPr lang="en-ZA" dirty="0"/>
          </a:p>
        </p:txBody>
      </p:sp>
      <p:sp>
        <p:nvSpPr>
          <p:cNvPr id="4" name="Slide Number Placeholder 3"/>
          <p:cNvSpPr>
            <a:spLocks noGrp="1"/>
          </p:cNvSpPr>
          <p:nvPr>
            <p:ph type="sldNum" sz="quarter" idx="10"/>
          </p:nvPr>
        </p:nvSpPr>
        <p:spPr/>
        <p:txBody>
          <a:bodyPr/>
          <a:lstStyle/>
          <a:p>
            <a:fld id="{C429AFB8-0CC5-46E7-9FB4-8F0F9C258461}" type="slidenum">
              <a:rPr lang="en-US" smtClean="0"/>
              <a:t>11</a:t>
            </a:fld>
            <a:endParaRPr lang="en-US"/>
          </a:p>
        </p:txBody>
      </p:sp>
    </p:spTree>
    <p:extLst>
      <p:ext uri="{BB962C8B-B14F-4D97-AF65-F5344CB8AC3E}">
        <p14:creationId xmlns:p14="http://schemas.microsoft.com/office/powerpoint/2010/main" val="2732929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429AFB8-0CC5-46E7-9FB4-8F0F9C258461}" type="slidenum">
              <a:rPr lang="en-US" smtClean="0"/>
              <a:t>12</a:t>
            </a:fld>
            <a:endParaRPr lang="en-US"/>
          </a:p>
        </p:txBody>
      </p:sp>
    </p:spTree>
    <p:extLst>
      <p:ext uri="{BB962C8B-B14F-4D97-AF65-F5344CB8AC3E}">
        <p14:creationId xmlns:p14="http://schemas.microsoft.com/office/powerpoint/2010/main" val="32745432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FFC1724-94B5-4BBC-BF9A-A2C3B06F48A0}"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1955193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FFC1724-94B5-4BBC-BF9A-A2C3B06F48A0}"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29280445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FFC1724-94B5-4BBC-BF9A-A2C3B06F48A0}"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151752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x-none"/>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x-none"/>
              <a:t>Click to edit Master subtitle style</a:t>
            </a:r>
            <a:endParaRPr lang="en-US"/>
          </a:p>
        </p:txBody>
      </p:sp>
      <p:sp>
        <p:nvSpPr>
          <p:cNvPr id="4" name="Date Placeholder 3"/>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2618726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2044106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x-non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17271852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Date Placeholder 4"/>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41429835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x-non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x-none"/>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7" name="Date Placeholder 6"/>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2538984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Date Placeholder 2"/>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40900244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2194794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x-none"/>
              <a:t>Click to edit Master title style</a:t>
            </a:r>
            <a:endParaRPr lang="en-US"/>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256110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FFC1724-94B5-4BBC-BF9A-A2C3B06F48A0}"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6360242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x-non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1820598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15182944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x-non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8192400E-4B41-6B44-9C66-FDAFA42533A3}" type="datetimeFigureOut">
              <a:rPr lang="en-US" smtClean="0"/>
              <a:t>9/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3170E4-1D71-0049-AC81-907CB81A64D7}" type="slidenum">
              <a:rPr lang="en-US" smtClean="0"/>
              <a:t>‹#›</a:t>
            </a:fld>
            <a:endParaRPr lang="en-US" dirty="0"/>
          </a:p>
        </p:txBody>
      </p:sp>
    </p:spTree>
    <p:extLst>
      <p:ext uri="{BB962C8B-B14F-4D97-AF65-F5344CB8AC3E}">
        <p14:creationId xmlns:p14="http://schemas.microsoft.com/office/powerpoint/2010/main" val="5868564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31D4A-B173-49AF-97C0-2B36F61C3D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233B7416-B8FF-4B14-B5ED-E277290393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990846CA-D542-40B1-A6A2-1883CCA38F31}"/>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5" name="Footer Placeholder 4">
            <a:extLst>
              <a:ext uri="{FF2B5EF4-FFF2-40B4-BE49-F238E27FC236}">
                <a16:creationId xmlns:a16="http://schemas.microsoft.com/office/drawing/2014/main" id="{F0662946-6EAB-4F1F-9FAE-655EE8E2DB7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0DBA5A7E-E2D9-4C13-88C9-FAC7B73679C6}"/>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13855384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DC00D-E5AF-4C44-885E-5E9FF5C115C1}"/>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E1C2D6DC-5E42-4D71-A80E-D077C2AE077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6CC2B70-D95E-4859-AB07-CA9518579B44}"/>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5" name="Footer Placeholder 4">
            <a:extLst>
              <a:ext uri="{FF2B5EF4-FFF2-40B4-BE49-F238E27FC236}">
                <a16:creationId xmlns:a16="http://schemas.microsoft.com/office/drawing/2014/main" id="{0F2733BD-0DDC-433F-91B4-27E192DFAB13}"/>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EE0FB5B2-7EF9-492F-A893-15E809A10880}"/>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10249424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77B7A-CD16-413C-951D-5E678800048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F376FE51-FD0B-4978-A34A-339B479672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8928CD0-1681-4139-9D9E-C8AF3A08127B}"/>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5" name="Footer Placeholder 4">
            <a:extLst>
              <a:ext uri="{FF2B5EF4-FFF2-40B4-BE49-F238E27FC236}">
                <a16:creationId xmlns:a16="http://schemas.microsoft.com/office/drawing/2014/main" id="{57EDF9FA-9836-4A4D-B008-A074B8CE5C6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E7A6D961-8D32-478B-BCC0-2E3820F521B4}"/>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5737504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15158-D694-41D6-B2BC-7E989F08640C}"/>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0A1136BB-0A3C-4E73-BEAE-0335D46129C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B5408892-451B-46A1-8FE6-BF18603C0DC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9E56CE5A-496F-4E7F-8A47-8BBCFFC5587C}"/>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6" name="Footer Placeholder 5">
            <a:extLst>
              <a:ext uri="{FF2B5EF4-FFF2-40B4-BE49-F238E27FC236}">
                <a16:creationId xmlns:a16="http://schemas.microsoft.com/office/drawing/2014/main" id="{87E9E9E4-39E2-48D4-9E11-CCCA421716DB}"/>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29B60BCF-FD55-4264-99C2-4DED08E208DD}"/>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875383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4E5AB-9D3F-414A-8D8E-FD1DB6090F5D}"/>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D3F8933F-0832-4AAA-A446-F6B2B6487F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6E93A1D-D217-4B69-ACC5-2DF5F824606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CE812797-D4E2-4769-82AB-F1B6CE3055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368FA3F-837C-4806-96D8-FDE456CC5B0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14B1E7EE-3320-4CE6-864B-1E0520344C3F}"/>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8" name="Footer Placeholder 7">
            <a:extLst>
              <a:ext uri="{FF2B5EF4-FFF2-40B4-BE49-F238E27FC236}">
                <a16:creationId xmlns:a16="http://schemas.microsoft.com/office/drawing/2014/main" id="{ADE0879C-F85E-401F-8727-8751ADAE8BCD}"/>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C252052A-76CB-4832-90BC-E9FBA1283F11}"/>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4276637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CCCA8-A703-48FC-96BA-2769714F5377}"/>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04BEEB2F-D4AC-4E20-84A9-0BCF671FFF78}"/>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4" name="Footer Placeholder 3">
            <a:extLst>
              <a:ext uri="{FF2B5EF4-FFF2-40B4-BE49-F238E27FC236}">
                <a16:creationId xmlns:a16="http://schemas.microsoft.com/office/drawing/2014/main" id="{1DF69853-79FB-4A73-B721-9828BB505CE1}"/>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2525EF5D-BBB7-4B31-A59E-9A54E1D7F7A7}"/>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27322138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420167-C376-4EAA-967F-A0D124603809}"/>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3" name="Footer Placeholder 2">
            <a:extLst>
              <a:ext uri="{FF2B5EF4-FFF2-40B4-BE49-F238E27FC236}">
                <a16:creationId xmlns:a16="http://schemas.microsoft.com/office/drawing/2014/main" id="{B6F93CAB-D0D5-4F67-8060-976631FDD28E}"/>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187A3511-EF26-4B08-A8AB-216F62DF9267}"/>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2135433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FFC1724-94B5-4BBC-BF9A-A2C3B06F48A0}" type="datetimeFigureOut">
              <a:rPr lang="en-US" smtClean="0"/>
              <a:t>9/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1793979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777A2-681D-4348-A40B-89C784D600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897F8ABF-8B10-4FA9-87F2-B4B16A125D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DB2D2ACB-AB08-47DC-B350-57E376248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E57E10E-3602-4957-AE22-943DF7739626}"/>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6" name="Footer Placeholder 5">
            <a:extLst>
              <a:ext uri="{FF2B5EF4-FFF2-40B4-BE49-F238E27FC236}">
                <a16:creationId xmlns:a16="http://schemas.microsoft.com/office/drawing/2014/main" id="{B34819C5-7611-4C4B-A949-79613936E391}"/>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76378B11-3654-4E1A-83FA-147ED0BF5C2C}"/>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37926016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43500-F19D-4B0D-ABD8-9A5D095F04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66A3309A-D091-41C5-8C12-7A790C9CD0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925FB005-FC77-4CF8-AF32-D4AF9CC11A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C5AECEB-5227-4B4F-B38D-A46F0AAA852D}"/>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6" name="Footer Placeholder 5">
            <a:extLst>
              <a:ext uri="{FF2B5EF4-FFF2-40B4-BE49-F238E27FC236}">
                <a16:creationId xmlns:a16="http://schemas.microsoft.com/office/drawing/2014/main" id="{DEB53BCB-8EB5-4EE7-BB25-8010EED5F80C}"/>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D4EA4654-CACC-4750-9123-9905C8907D12}"/>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30567484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1EA53-AE6B-4800-A646-2182AA140C4C}"/>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2D2D6D20-8D9E-43AB-B199-315B754BC93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81D17813-4DDF-424D-8351-9CD642093B9F}"/>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5" name="Footer Placeholder 4">
            <a:extLst>
              <a:ext uri="{FF2B5EF4-FFF2-40B4-BE49-F238E27FC236}">
                <a16:creationId xmlns:a16="http://schemas.microsoft.com/office/drawing/2014/main" id="{F677F72C-FDDF-49C1-9131-16F10D6A68C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9EBF858C-4170-4D4B-A71E-88EF2AB87E2F}"/>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42537165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0660D7-E996-46BB-B61A-FEE626E2199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1B7F4934-9BEE-482D-A944-90AF3F6E1C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9E01A3DC-A78A-4C17-8807-F395E2324A61}"/>
              </a:ext>
            </a:extLst>
          </p:cNvPr>
          <p:cNvSpPr>
            <a:spLocks noGrp="1"/>
          </p:cNvSpPr>
          <p:nvPr>
            <p:ph type="dt" sz="half" idx="10"/>
          </p:nvPr>
        </p:nvSpPr>
        <p:spPr/>
        <p:txBody>
          <a:bodyPr/>
          <a:lstStyle/>
          <a:p>
            <a:fld id="{2CE007DA-0ABC-4133-8686-8D40EA659479}" type="datetimeFigureOut">
              <a:rPr lang="en-ZA" smtClean="0"/>
              <a:t>10 Sep 2025</a:t>
            </a:fld>
            <a:endParaRPr lang="en-ZA"/>
          </a:p>
        </p:txBody>
      </p:sp>
      <p:sp>
        <p:nvSpPr>
          <p:cNvPr id="5" name="Footer Placeholder 4">
            <a:extLst>
              <a:ext uri="{FF2B5EF4-FFF2-40B4-BE49-F238E27FC236}">
                <a16:creationId xmlns:a16="http://schemas.microsoft.com/office/drawing/2014/main" id="{D1F6B766-E4E5-44F7-B843-88AC79560C31}"/>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E187BB2D-9D29-4173-907C-D10E144EECD9}"/>
              </a:ext>
            </a:extLst>
          </p:cNvPr>
          <p:cNvSpPr>
            <a:spLocks noGrp="1"/>
          </p:cNvSpPr>
          <p:nvPr>
            <p:ph type="sldNum" sz="quarter" idx="12"/>
          </p:nvPr>
        </p:nvSpPr>
        <p:spPr/>
        <p:txBody>
          <a:bodyPr/>
          <a:lstStyle/>
          <a:p>
            <a:fld id="{9429DB00-182F-4632-A197-92477E64EA8C}" type="slidenum">
              <a:rPr lang="en-ZA" smtClean="0"/>
              <a:t>‹#›</a:t>
            </a:fld>
            <a:endParaRPr lang="en-ZA"/>
          </a:p>
        </p:txBody>
      </p:sp>
    </p:spTree>
    <p:extLst>
      <p:ext uri="{BB962C8B-B14F-4D97-AF65-F5344CB8AC3E}">
        <p14:creationId xmlns:p14="http://schemas.microsoft.com/office/powerpoint/2010/main" val="1482349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B81C6CF3-F26F-41B9-9ACD-FBA062C3CD45}" type="datetimeFigureOut">
              <a:rPr lang="en-ZA" smtClean="0"/>
              <a:t>10 Sep 202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40211273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81C6CF3-F26F-41B9-9ACD-FBA062C3CD45}" type="datetimeFigureOut">
              <a:rPr lang="en-ZA" smtClean="0"/>
              <a:t>10 Sep 202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32759621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81C6CF3-F26F-41B9-9ACD-FBA062C3CD45}" type="datetimeFigureOut">
              <a:rPr lang="en-ZA" smtClean="0"/>
              <a:t>10 Sep 202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8558932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B81C6CF3-F26F-41B9-9ACD-FBA062C3CD45}" type="datetimeFigureOut">
              <a:rPr lang="en-ZA" smtClean="0"/>
              <a:t>10 Sep 202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16728035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B81C6CF3-F26F-41B9-9ACD-FBA062C3CD45}" type="datetimeFigureOut">
              <a:rPr lang="en-ZA" smtClean="0"/>
              <a:t>10 Sep 2025</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39305395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B81C6CF3-F26F-41B9-9ACD-FBA062C3CD45}" type="datetimeFigureOut">
              <a:rPr lang="en-ZA" smtClean="0"/>
              <a:t>10 Sep 2025</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194681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FFC1724-94B5-4BBC-BF9A-A2C3B06F48A0}"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23760678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81C6CF3-F26F-41B9-9ACD-FBA062C3CD45}" type="datetimeFigureOut">
              <a:rPr lang="en-ZA" smtClean="0"/>
              <a:t>10 Sep 2025</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805098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81C6CF3-F26F-41B9-9ACD-FBA062C3CD45}" type="datetimeFigureOut">
              <a:rPr lang="en-ZA" smtClean="0"/>
              <a:t>10 Sep 202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14408767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81C6CF3-F26F-41B9-9ACD-FBA062C3CD45}" type="datetimeFigureOut">
              <a:rPr lang="en-ZA" smtClean="0"/>
              <a:t>10 Sep 202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32101682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81C6CF3-F26F-41B9-9ACD-FBA062C3CD45}" type="datetimeFigureOut">
              <a:rPr lang="en-ZA" smtClean="0"/>
              <a:t>10 Sep 202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13735727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81C6CF3-F26F-41B9-9ACD-FBA062C3CD45}" type="datetimeFigureOut">
              <a:rPr lang="en-ZA" smtClean="0"/>
              <a:t>10 Sep 202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1F7B33-DA8F-410A-AF9D-9E5262778694}" type="slidenum">
              <a:rPr lang="en-ZA" smtClean="0"/>
              <a:t>‹#›</a:t>
            </a:fld>
            <a:endParaRPr lang="en-ZA"/>
          </a:p>
        </p:txBody>
      </p:sp>
    </p:spTree>
    <p:extLst>
      <p:ext uri="{BB962C8B-B14F-4D97-AF65-F5344CB8AC3E}">
        <p14:creationId xmlns:p14="http://schemas.microsoft.com/office/powerpoint/2010/main" val="1195272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75D62-B9B7-1BD0-FFBC-B532C180A80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D70BA84-4445-7D3C-3DDB-33DFA1FB71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C648D064-52BA-BFDB-72D0-39BCEA2B76E9}"/>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5" name="Footer Placeholder 4">
            <a:extLst>
              <a:ext uri="{FF2B5EF4-FFF2-40B4-BE49-F238E27FC236}">
                <a16:creationId xmlns:a16="http://schemas.microsoft.com/office/drawing/2014/main" id="{0FCF0777-FA58-762E-203B-EE6A4F7CF8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D772A0-A95B-2412-551B-64F1646196BF}"/>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35974902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90DE5-9598-72A7-6926-7F8A3710863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69B8C13-F423-3E6B-5BFF-070971EC220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B297A69-73A7-2BBC-50FF-1D8D4811E3BE}"/>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5" name="Footer Placeholder 4">
            <a:extLst>
              <a:ext uri="{FF2B5EF4-FFF2-40B4-BE49-F238E27FC236}">
                <a16:creationId xmlns:a16="http://schemas.microsoft.com/office/drawing/2014/main" id="{6BC15FE1-BB6F-9A25-52BE-A069D93F42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1A6AB8-7018-1F32-9233-476EF46C31F5}"/>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13509428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61202-91D5-02C5-612F-0B68D70B395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91143AEF-9348-6E68-7CB0-6E6919D4ACB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A161471-467D-D8F4-BD0B-2335C03982F9}"/>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5" name="Footer Placeholder 4">
            <a:extLst>
              <a:ext uri="{FF2B5EF4-FFF2-40B4-BE49-F238E27FC236}">
                <a16:creationId xmlns:a16="http://schemas.microsoft.com/office/drawing/2014/main" id="{B699680E-46CD-8C67-3316-8088350AA9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C02087-50EF-C3D8-5106-BED4CD1F514C}"/>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2829572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F696-FD95-2965-C054-7F4C08F1E69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2CC4A6E-4C39-9248-22FD-C2D3570FD95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3E42A8B-8509-A4F6-B201-6FEC44865A2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E4C397F-9586-18AD-2619-8F2C66CE9246}"/>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6" name="Footer Placeholder 5">
            <a:extLst>
              <a:ext uri="{FF2B5EF4-FFF2-40B4-BE49-F238E27FC236}">
                <a16:creationId xmlns:a16="http://schemas.microsoft.com/office/drawing/2014/main" id="{665B92DF-F402-88D0-44A0-A2286EFA82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2E589B-44D1-DEC8-72F0-B7E3C45A2C41}"/>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41525207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26328-9A9E-511F-7216-3C07B6AB0F8F}"/>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27F0E40-41E1-D064-4779-48A21B4E469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D05F7D4-7809-72BF-26D9-F633325136B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6547DB0-B6D2-FC7A-DDA8-CEA196AE98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842523F-D972-28A8-60AD-3BB49C16212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49412908-6549-3D0F-6957-F6F6D5673B3A}"/>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8" name="Footer Placeholder 7">
            <a:extLst>
              <a:ext uri="{FF2B5EF4-FFF2-40B4-BE49-F238E27FC236}">
                <a16:creationId xmlns:a16="http://schemas.microsoft.com/office/drawing/2014/main" id="{92E605C2-4D13-EFAE-28BD-AF828E2A6E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7032C8-126F-E9C0-C76C-6AFAA9F523D3}"/>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1753372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FFC1724-94B5-4BBC-BF9A-A2C3B06F48A0}" type="datetimeFigureOut">
              <a:rPr lang="en-US" smtClean="0"/>
              <a:t>9/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10254560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11B87-4ABD-8FBD-972A-4A64C817E867}"/>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7632C2EF-10CC-A456-EE03-0F3DA32A9B86}"/>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4" name="Footer Placeholder 3">
            <a:extLst>
              <a:ext uri="{FF2B5EF4-FFF2-40B4-BE49-F238E27FC236}">
                <a16:creationId xmlns:a16="http://schemas.microsoft.com/office/drawing/2014/main" id="{758F366A-201C-76EB-F888-9545774D51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DC7F00-BA05-181F-CF87-87E19BB9A7D0}"/>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32085230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541CA1-4ECE-8F06-988A-8CF067CCF18D}"/>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3" name="Footer Placeholder 2">
            <a:extLst>
              <a:ext uri="{FF2B5EF4-FFF2-40B4-BE49-F238E27FC236}">
                <a16:creationId xmlns:a16="http://schemas.microsoft.com/office/drawing/2014/main" id="{98507A74-28FE-EBAD-9272-51F165ECB83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767FCA8-34E4-5576-822F-D478B04D5FE2}"/>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1442471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8ACAD-7356-AE6F-4721-EB6CE8A19D0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55347BF2-2C81-69D6-4023-D9E2B645D7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F2160614-91F5-13DD-87E7-B53B8728C8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2B5E7F6-331B-2FC6-C4FC-3C0A378DA591}"/>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6" name="Footer Placeholder 5">
            <a:extLst>
              <a:ext uri="{FF2B5EF4-FFF2-40B4-BE49-F238E27FC236}">
                <a16:creationId xmlns:a16="http://schemas.microsoft.com/office/drawing/2014/main" id="{10EEF8DB-2D0C-C736-DE1D-B0F0F478E8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4BE82C-7D2B-7E61-0518-FFDE39ACBCED}"/>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33305605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14A6F-685D-E4F5-DA46-DFF51196FAF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C64EEED0-4D20-B1F7-CD6A-2DC1D3EB6E2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248CFD-A92E-2693-CE0F-25F3132242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20CE08D-C7F3-29CB-5665-A63EDD8A9B8F}"/>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6" name="Footer Placeholder 5">
            <a:extLst>
              <a:ext uri="{FF2B5EF4-FFF2-40B4-BE49-F238E27FC236}">
                <a16:creationId xmlns:a16="http://schemas.microsoft.com/office/drawing/2014/main" id="{85332082-D6F9-FDEC-898A-98AFCB66FC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B8658D-3753-E6B7-1081-5FCAB0B8F4D8}"/>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1530038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40054-A5A2-002E-9001-946EED99B2B1}"/>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786CD61-CAEA-C3B5-EB85-24B4D3EAFCC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3B00696-373E-486A-89E7-F0334BFB4831}"/>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5" name="Footer Placeholder 4">
            <a:extLst>
              <a:ext uri="{FF2B5EF4-FFF2-40B4-BE49-F238E27FC236}">
                <a16:creationId xmlns:a16="http://schemas.microsoft.com/office/drawing/2014/main" id="{263F9BCE-C6C8-0ED9-BC02-AE8A841AA5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5F9968-33CC-81E2-F7C7-6B61B5851241}"/>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30224273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E5DEB2-A6B1-CB5C-2D39-10A0CAB9F05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8426DD16-2417-7BAE-DB01-E0BBA90DA94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79C2FCD-036B-25FB-3437-9D728E1EBC32}"/>
              </a:ext>
            </a:extLst>
          </p:cNvPr>
          <p:cNvSpPr>
            <a:spLocks noGrp="1"/>
          </p:cNvSpPr>
          <p:nvPr>
            <p:ph type="dt" sz="half" idx="10"/>
          </p:nvPr>
        </p:nvSpPr>
        <p:spPr/>
        <p:txBody>
          <a:bodyPr/>
          <a:lstStyle/>
          <a:p>
            <a:fld id="{664D3AD4-BAF5-8F4B-A88A-DF450C5C30A5}" type="datetimeFigureOut">
              <a:rPr lang="en-US" smtClean="0"/>
              <a:t>9/10/2025</a:t>
            </a:fld>
            <a:endParaRPr lang="en-US"/>
          </a:p>
        </p:txBody>
      </p:sp>
      <p:sp>
        <p:nvSpPr>
          <p:cNvPr id="5" name="Footer Placeholder 4">
            <a:extLst>
              <a:ext uri="{FF2B5EF4-FFF2-40B4-BE49-F238E27FC236}">
                <a16:creationId xmlns:a16="http://schemas.microsoft.com/office/drawing/2014/main" id="{6F1B3D0F-79AA-DC80-0A95-E0EFA854AF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353D1F-5C68-47EC-800F-AE6B71A7A31D}"/>
              </a:ext>
            </a:extLst>
          </p:cNvPr>
          <p:cNvSpPr>
            <a:spLocks noGrp="1"/>
          </p:cNvSpPr>
          <p:nvPr>
            <p:ph type="sldNum" sz="quarter" idx="12"/>
          </p:nvPr>
        </p:nvSpPr>
        <p:spPr/>
        <p:txBody>
          <a:bodyPr/>
          <a:lstStyle/>
          <a:p>
            <a:fld id="{EB84666E-3A0F-184B-87E1-C5A8583E964B}" type="slidenum">
              <a:rPr lang="en-US" smtClean="0"/>
              <a:t>‹#›</a:t>
            </a:fld>
            <a:endParaRPr lang="en-US"/>
          </a:p>
        </p:txBody>
      </p:sp>
    </p:spTree>
    <p:extLst>
      <p:ext uri="{BB962C8B-B14F-4D97-AF65-F5344CB8AC3E}">
        <p14:creationId xmlns:p14="http://schemas.microsoft.com/office/powerpoint/2010/main" val="902200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17D66-BDAA-4D87-BF71-E7C12E660F0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4A9508EB-C417-4BE4-8AEF-501BBD2AE0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CE1CC12E-A6F0-414E-B044-4F41937B46F9}"/>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5" name="Footer Placeholder 4">
            <a:extLst>
              <a:ext uri="{FF2B5EF4-FFF2-40B4-BE49-F238E27FC236}">
                <a16:creationId xmlns:a16="http://schemas.microsoft.com/office/drawing/2014/main" id="{249BBE2E-0BEF-40E5-A459-63835DCF7F9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8DE9A7D0-9379-4620-A99B-EF12955BA78D}"/>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12768017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A5538-0255-4B91-B12C-59F00D457AEE}"/>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37A49A01-42BF-4806-A02D-A932A3A3094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2C931740-C74A-4EC3-B308-E1C189781B1E}"/>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5" name="Footer Placeholder 4">
            <a:extLst>
              <a:ext uri="{FF2B5EF4-FFF2-40B4-BE49-F238E27FC236}">
                <a16:creationId xmlns:a16="http://schemas.microsoft.com/office/drawing/2014/main" id="{878D3C6B-9C1B-4E36-AF5E-0DFD5B7E8DE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3D5B690E-8980-4D54-82A0-AC5A152C8FFE}"/>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23593809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9FE26-5403-4024-BB11-772658609E8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C4E9A7B9-431C-4DF7-9C55-13D5E98E40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2072F4D-8FD7-433E-BF4A-8DC421C5D557}"/>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5" name="Footer Placeholder 4">
            <a:extLst>
              <a:ext uri="{FF2B5EF4-FFF2-40B4-BE49-F238E27FC236}">
                <a16:creationId xmlns:a16="http://schemas.microsoft.com/office/drawing/2014/main" id="{48C5B2E0-8DA8-49F3-8BD2-DBB6CB6777A4}"/>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3373B2FF-B40A-4C41-8B5E-B74AF2CA0B74}"/>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5271028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600CC-B0B6-452F-8F9D-36EEA655CC4B}"/>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8B073841-577C-4802-AF59-85CA0BAA433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1BD2B2D1-DAC4-4AF9-AAF1-4688AB02D2A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61DADF12-00E8-4A25-BBCC-ED35C946F611}"/>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6" name="Footer Placeholder 5">
            <a:extLst>
              <a:ext uri="{FF2B5EF4-FFF2-40B4-BE49-F238E27FC236}">
                <a16:creationId xmlns:a16="http://schemas.microsoft.com/office/drawing/2014/main" id="{0FA35317-5A6E-45B6-83B0-6DEC2BE160A6}"/>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6265FEBA-0ED1-4A92-BECF-BCB273ABD89F}"/>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13694896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FC1724-94B5-4BBC-BF9A-A2C3B06F48A0}" type="datetimeFigureOut">
              <a:rPr lang="en-US" smtClean="0"/>
              <a:t>9/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23258469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6F8A3-510C-4390-9C04-53D284362A5B}"/>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AA1D0962-4F80-452D-A0C6-01D0A420F4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90FA764-DA11-4B55-A481-958B08546C3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7C1484E4-FCEA-4856-9778-82A8E37B96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EA68124-1434-4C55-ADC7-22EC5C6D114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599191EF-48E4-42DB-9424-411FF40ADEA7}"/>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8" name="Footer Placeholder 7">
            <a:extLst>
              <a:ext uri="{FF2B5EF4-FFF2-40B4-BE49-F238E27FC236}">
                <a16:creationId xmlns:a16="http://schemas.microsoft.com/office/drawing/2014/main" id="{19E90995-1549-4DEA-9307-1385C748A4A1}"/>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28354E31-C68B-4A6C-BF3C-043F75FC1919}"/>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15819572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74FD8-A9B4-41FF-AF49-F1A4923F9AB3}"/>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F73C9B86-0524-4B03-97E7-BFB0C135BD32}"/>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4" name="Footer Placeholder 3">
            <a:extLst>
              <a:ext uri="{FF2B5EF4-FFF2-40B4-BE49-F238E27FC236}">
                <a16:creationId xmlns:a16="http://schemas.microsoft.com/office/drawing/2014/main" id="{91E1F2D9-00AF-41B4-B5FB-F48C5B911292}"/>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53A2960D-385C-4ACB-8414-2B710E688679}"/>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1364982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F0EB04-9E38-4D01-AE60-4EBFAEF95E3A}"/>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3" name="Footer Placeholder 2">
            <a:extLst>
              <a:ext uri="{FF2B5EF4-FFF2-40B4-BE49-F238E27FC236}">
                <a16:creationId xmlns:a16="http://schemas.microsoft.com/office/drawing/2014/main" id="{AD0378ED-E1A7-46F9-80D6-549136E6A4D3}"/>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AD18CF19-952C-4D64-A220-8B41F8350FC1}"/>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28903690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DA7E-818A-44EE-9302-070CF712A0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C068880C-35C6-42ED-88CF-3FA6E7FCF09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EA17656A-FF76-435A-A75A-02E556EA9E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5B52869-2EC7-43A3-A345-63E2C5BCB2BE}"/>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6" name="Footer Placeholder 5">
            <a:extLst>
              <a:ext uri="{FF2B5EF4-FFF2-40B4-BE49-F238E27FC236}">
                <a16:creationId xmlns:a16="http://schemas.microsoft.com/office/drawing/2014/main" id="{30C0F553-6CB8-458B-B021-F873FB72C139}"/>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12F464B4-2655-453F-A98D-D44392B6112E}"/>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36834900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B8353-4397-40DA-8246-B22FF5B467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9A72D3B1-A995-4F02-AA6E-52612A1FE1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E9A347BB-973D-4CB9-9BF0-B818061AE3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50377B-3291-4298-BAB8-20FF13519CA2}"/>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6" name="Footer Placeholder 5">
            <a:extLst>
              <a:ext uri="{FF2B5EF4-FFF2-40B4-BE49-F238E27FC236}">
                <a16:creationId xmlns:a16="http://schemas.microsoft.com/office/drawing/2014/main" id="{7E7887BA-D683-4815-B618-AA155FA7230B}"/>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57BE5564-C819-4E79-A513-5E3C2A676063}"/>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37057864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5D48A-9CF2-47EF-AD20-1D316D949CB0}"/>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5E5E92BC-8F9F-4748-A47A-55B3623D809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543529F5-7374-4110-952B-9CCF11B39595}"/>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5" name="Footer Placeholder 4">
            <a:extLst>
              <a:ext uri="{FF2B5EF4-FFF2-40B4-BE49-F238E27FC236}">
                <a16:creationId xmlns:a16="http://schemas.microsoft.com/office/drawing/2014/main" id="{75795C34-74D6-4456-A470-CC58BEEDBFD7}"/>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33794877-D20F-47B0-A235-930A1FD3E642}"/>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41649656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67A094-F987-47D8-90ED-FF136D458D3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3D47056B-8D05-43F5-BADF-D47528B99DF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310EBE62-8911-4243-885E-7572927523C9}"/>
              </a:ext>
            </a:extLst>
          </p:cNvPr>
          <p:cNvSpPr>
            <a:spLocks noGrp="1"/>
          </p:cNvSpPr>
          <p:nvPr>
            <p:ph type="dt" sz="half" idx="10"/>
          </p:nvPr>
        </p:nvSpPr>
        <p:spPr/>
        <p:txBody>
          <a:bodyPr/>
          <a:lstStyle/>
          <a:p>
            <a:fld id="{49B5859F-1DCE-4C0E-8D0C-51976F836ABC}" type="datetimeFigureOut">
              <a:rPr lang="en-ZA" smtClean="0"/>
              <a:t>10 Sep 2025</a:t>
            </a:fld>
            <a:endParaRPr lang="en-ZA"/>
          </a:p>
        </p:txBody>
      </p:sp>
      <p:sp>
        <p:nvSpPr>
          <p:cNvPr id="5" name="Footer Placeholder 4">
            <a:extLst>
              <a:ext uri="{FF2B5EF4-FFF2-40B4-BE49-F238E27FC236}">
                <a16:creationId xmlns:a16="http://schemas.microsoft.com/office/drawing/2014/main" id="{4526F5C8-2BEB-418D-8A58-76F8AA31425C}"/>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4DFC675F-4CEE-47CA-A1CF-685BCD58A1CE}"/>
              </a:ext>
            </a:extLst>
          </p:cNvPr>
          <p:cNvSpPr>
            <a:spLocks noGrp="1"/>
          </p:cNvSpPr>
          <p:nvPr>
            <p:ph type="sldNum" sz="quarter" idx="12"/>
          </p:nvPr>
        </p:nvSpPr>
        <p:spPr/>
        <p:txBody>
          <a:bodyPr/>
          <a:lstStyle/>
          <a:p>
            <a:fld id="{A6561C6F-3AD4-4E56-B0BD-043CE6FEC25A}" type="slidenum">
              <a:rPr lang="en-ZA" smtClean="0"/>
              <a:t>‹#›</a:t>
            </a:fld>
            <a:endParaRPr lang="en-ZA"/>
          </a:p>
        </p:txBody>
      </p:sp>
    </p:spTree>
    <p:extLst>
      <p:ext uri="{BB962C8B-B14F-4D97-AF65-F5344CB8AC3E}">
        <p14:creationId xmlns:p14="http://schemas.microsoft.com/office/powerpoint/2010/main" val="27330703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ontent Placeholder 2"/>
          <p:cNvSpPr>
            <a:spLocks noGrp="1"/>
          </p:cNvSpPr>
          <p:nvPr>
            <p:ph sz="quarter" idx="1"/>
          </p:nvPr>
        </p:nvSpPr>
        <p:spPr>
          <a:xfrm>
            <a:off x="609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half" idx="3"/>
          </p:nvPr>
        </p:nvSpPr>
        <p:spPr>
          <a:xfrm>
            <a:off x="609600" y="3938589"/>
            <a:ext cx="10972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p:txBody>
          <a:bodyPr/>
          <a:lstStyle>
            <a:lvl1pPr>
              <a:defRPr/>
            </a:lvl1pPr>
          </a:lstStyle>
          <a:p>
            <a:pPr>
              <a:defRPr/>
            </a:pPr>
            <a:endParaRPr lang="en-US" dirty="0"/>
          </a:p>
        </p:txBody>
      </p:sp>
      <p:sp>
        <p:nvSpPr>
          <p:cNvPr id="7" name="Rectangle 5"/>
          <p:cNvSpPr>
            <a:spLocks noGrp="1" noChangeArrowheads="1"/>
          </p:cNvSpPr>
          <p:nvPr>
            <p:ph type="ftr" sz="quarter" idx="11"/>
          </p:nvPr>
        </p:nvSpPr>
        <p:spPr/>
        <p:txBody>
          <a:bodyPr/>
          <a:lstStyle>
            <a:lvl1pPr>
              <a:defRPr/>
            </a:lvl1pPr>
          </a:lstStyle>
          <a:p>
            <a:pPr>
              <a:defRPr/>
            </a:pPr>
            <a:endParaRPr lang="en-US" dirty="0"/>
          </a:p>
        </p:txBody>
      </p:sp>
      <p:sp>
        <p:nvSpPr>
          <p:cNvPr id="8" name="Rectangle 6"/>
          <p:cNvSpPr>
            <a:spLocks noGrp="1" noChangeArrowheads="1"/>
          </p:cNvSpPr>
          <p:nvPr>
            <p:ph type="sldNum" sz="quarter" idx="12"/>
          </p:nvPr>
        </p:nvSpPr>
        <p:spPr/>
        <p:txBody>
          <a:bodyPr/>
          <a:lstStyle>
            <a:lvl1pPr>
              <a:defRPr/>
            </a:lvl1pPr>
          </a:lstStyle>
          <a:p>
            <a:pPr>
              <a:defRPr/>
            </a:pPr>
            <a:fld id="{18E475E2-9B61-497A-8939-61D29D2CDF18}" type="slidenum">
              <a:rPr lang="en-US"/>
              <a:pPr>
                <a:defRPr/>
              </a:pPr>
              <a:t>‹#›</a:t>
            </a:fld>
            <a:endParaRPr lang="en-US" dirty="0"/>
          </a:p>
        </p:txBody>
      </p:sp>
    </p:spTree>
    <p:extLst>
      <p:ext uri="{BB962C8B-B14F-4D97-AF65-F5344CB8AC3E}">
        <p14:creationId xmlns:p14="http://schemas.microsoft.com/office/powerpoint/2010/main" val="2694371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FC1724-94B5-4BBC-BF9A-A2C3B06F48A0}" type="datetimeFigureOut">
              <a:rPr lang="en-US" smtClean="0"/>
              <a:t>9/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2280753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FFC1724-94B5-4BBC-BF9A-A2C3B06F48A0}"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17774796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FFC1724-94B5-4BBC-BF9A-A2C3B06F48A0}" type="datetimeFigureOut">
              <a:rPr lang="en-US" smtClean="0"/>
              <a:t>9/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84D293-A4BF-46FD-BF97-FD1863A28830}" type="slidenum">
              <a:rPr lang="en-US" smtClean="0"/>
              <a:t>‹#›</a:t>
            </a:fld>
            <a:endParaRPr lang="en-US"/>
          </a:p>
        </p:txBody>
      </p:sp>
    </p:spTree>
    <p:extLst>
      <p:ext uri="{BB962C8B-B14F-4D97-AF65-F5344CB8AC3E}">
        <p14:creationId xmlns:p14="http://schemas.microsoft.com/office/powerpoint/2010/main" val="701781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image" Target="../media/image2.jp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FC1724-94B5-4BBC-BF9A-A2C3B06F48A0}" type="datetimeFigureOut">
              <a:rPr lang="en-US" smtClean="0"/>
              <a:t>9/1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84D293-A4BF-46FD-BF97-FD1863A28830}" type="slidenum">
              <a:rPr lang="en-US" smtClean="0"/>
              <a:t>‹#›</a:t>
            </a:fld>
            <a:endParaRPr lang="en-US"/>
          </a:p>
        </p:txBody>
      </p:sp>
    </p:spTree>
    <p:extLst>
      <p:ext uri="{BB962C8B-B14F-4D97-AF65-F5344CB8AC3E}">
        <p14:creationId xmlns:p14="http://schemas.microsoft.com/office/powerpoint/2010/main" val="6216249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414EBC-22F6-4F02-80EC-18353FA9F114}"/>
              </a:ext>
            </a:extLst>
          </p:cNvPr>
          <p:cNvGraphicFramePr>
            <a:graphicFrameLocks noChangeAspect="1"/>
          </p:cNvGraphicFramePr>
          <p:nvPr userDrawn="1">
            <p:custDataLst>
              <p:tags r:id="rId1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1" name="think-cell Slide" r:id="rId17" imgW="416" imgH="416" progId="TCLayout.ActiveDocument.1">
                  <p:embed/>
                </p:oleObj>
              </mc:Choice>
              <mc:Fallback>
                <p:oleObj name="think-cell Slide" r:id="rId17" imgW="416" imgH="416" progId="TCLayout.ActiveDocument.1">
                  <p:embed/>
                  <p:pic>
                    <p:nvPicPr>
                      <p:cNvPr id="8" name="Object 7" hidden="1">
                        <a:extLst>
                          <a:ext uri="{FF2B5EF4-FFF2-40B4-BE49-F238E27FC236}">
                            <a16:creationId xmlns:a16="http://schemas.microsoft.com/office/drawing/2014/main" id="{EB414EBC-22F6-4F02-80EC-18353FA9F114}"/>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6374C0-E977-482B-85C8-7AD7F4D9F663}"/>
              </a:ext>
            </a:extLst>
          </p:cNvPr>
          <p:cNvSpPr/>
          <p:nvPr userDrawn="1">
            <p:custDataLst>
              <p:tags r:id="rId15"/>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x-none"/>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92400E-4B41-6B44-9C66-FDAFA42533A3}" type="datetimeFigureOut">
              <a:rPr lang="en-US" smtClean="0"/>
              <a:t>9/10/2025</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3170E4-1D71-0049-AC81-907CB81A64D7}" type="slidenum">
              <a:rPr lang="en-US" smtClean="0"/>
              <a:t>‹#›</a:t>
            </a:fld>
            <a:endParaRPr lang="en-US" dirty="0"/>
          </a:p>
        </p:txBody>
      </p:sp>
    </p:spTree>
    <p:extLst>
      <p:ext uri="{BB962C8B-B14F-4D97-AF65-F5344CB8AC3E}">
        <p14:creationId xmlns:p14="http://schemas.microsoft.com/office/powerpoint/2010/main" val="225498127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B37729-BF99-4E07-88F1-23BB62FDA7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CDDB9C58-D067-4891-8C47-35FCC3D2AA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AA194446-9C78-4506-AE9C-FF6FD76858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E007DA-0ABC-4133-8686-8D40EA659479}" type="datetimeFigureOut">
              <a:rPr lang="en-ZA" smtClean="0"/>
              <a:t>10 Sep 2025</a:t>
            </a:fld>
            <a:endParaRPr lang="en-ZA"/>
          </a:p>
        </p:txBody>
      </p:sp>
      <p:sp>
        <p:nvSpPr>
          <p:cNvPr id="5" name="Footer Placeholder 4">
            <a:extLst>
              <a:ext uri="{FF2B5EF4-FFF2-40B4-BE49-F238E27FC236}">
                <a16:creationId xmlns:a16="http://schemas.microsoft.com/office/drawing/2014/main" id="{5B3B4D75-C8D0-404C-AF78-EC8F15DB65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FD8AEABA-4928-4DB2-8646-989BA98A95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29DB00-182F-4632-A197-92477E64EA8C}" type="slidenum">
              <a:rPr lang="en-ZA" smtClean="0"/>
              <a:t>‹#›</a:t>
            </a:fld>
            <a:endParaRPr lang="en-ZA"/>
          </a:p>
        </p:txBody>
      </p:sp>
    </p:spTree>
    <p:extLst>
      <p:ext uri="{BB962C8B-B14F-4D97-AF65-F5344CB8AC3E}">
        <p14:creationId xmlns:p14="http://schemas.microsoft.com/office/powerpoint/2010/main" val="385409206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1C6CF3-F26F-41B9-9ACD-FBA062C3CD45}" type="datetimeFigureOut">
              <a:rPr lang="en-ZA" smtClean="0"/>
              <a:t>10 Sep 2025</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1F7B33-DA8F-410A-AF9D-9E5262778694}" type="slidenum">
              <a:rPr lang="en-ZA" smtClean="0"/>
              <a:t>‹#›</a:t>
            </a:fld>
            <a:endParaRPr lang="en-ZA"/>
          </a:p>
        </p:txBody>
      </p:sp>
    </p:spTree>
    <p:extLst>
      <p:ext uri="{BB962C8B-B14F-4D97-AF65-F5344CB8AC3E}">
        <p14:creationId xmlns:p14="http://schemas.microsoft.com/office/powerpoint/2010/main" val="104420328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FA8420-5512-F667-2687-025FBB2512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3541A8C7-AB34-2BEE-EC72-E4BB06C73E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9B33443-9081-BBE1-12B8-008C837C08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4D3AD4-BAF5-8F4B-A88A-DF450C5C30A5}" type="datetimeFigureOut">
              <a:rPr lang="en-US" smtClean="0"/>
              <a:t>9/10/2025</a:t>
            </a:fld>
            <a:endParaRPr lang="en-US"/>
          </a:p>
        </p:txBody>
      </p:sp>
      <p:sp>
        <p:nvSpPr>
          <p:cNvPr id="5" name="Footer Placeholder 4">
            <a:extLst>
              <a:ext uri="{FF2B5EF4-FFF2-40B4-BE49-F238E27FC236}">
                <a16:creationId xmlns:a16="http://schemas.microsoft.com/office/drawing/2014/main" id="{4468C910-EEA5-5823-CC9E-9CB4997076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10C3F5-4CA8-F357-5645-3FA48D6FEC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84666E-3A0F-184B-87E1-C5A8583E964B}" type="slidenum">
              <a:rPr lang="en-US" smtClean="0"/>
              <a:t>‹#›</a:t>
            </a:fld>
            <a:endParaRPr lang="en-US"/>
          </a:p>
        </p:txBody>
      </p:sp>
    </p:spTree>
    <p:extLst>
      <p:ext uri="{BB962C8B-B14F-4D97-AF65-F5344CB8AC3E}">
        <p14:creationId xmlns:p14="http://schemas.microsoft.com/office/powerpoint/2010/main" val="115822835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C90E93-985A-4938-8184-A416F0E664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8EC5A611-E971-4E4F-B85D-CA1D3C1E88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9D607206-FB1F-4ED6-8B91-5FFF374108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B5859F-1DCE-4C0E-8D0C-51976F836ABC}" type="datetimeFigureOut">
              <a:rPr lang="en-ZA" smtClean="0"/>
              <a:t>10 Sep 2025</a:t>
            </a:fld>
            <a:endParaRPr lang="en-ZA"/>
          </a:p>
        </p:txBody>
      </p:sp>
      <p:sp>
        <p:nvSpPr>
          <p:cNvPr id="5" name="Footer Placeholder 4">
            <a:extLst>
              <a:ext uri="{FF2B5EF4-FFF2-40B4-BE49-F238E27FC236}">
                <a16:creationId xmlns:a16="http://schemas.microsoft.com/office/drawing/2014/main" id="{A791AB1E-0E2F-4717-A706-91B21AF867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963E9DEF-DE40-4E39-A78F-7F00D2423F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561C6F-3AD4-4E56-B0BD-043CE6FEC25A}" type="slidenum">
              <a:rPr lang="en-ZA" smtClean="0"/>
              <a:t>‹#›</a:t>
            </a:fld>
            <a:endParaRPr lang="en-ZA"/>
          </a:p>
        </p:txBody>
      </p:sp>
    </p:spTree>
    <p:extLst>
      <p:ext uri="{BB962C8B-B14F-4D97-AF65-F5344CB8AC3E}">
        <p14:creationId xmlns:p14="http://schemas.microsoft.com/office/powerpoint/2010/main" val="69556630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40.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40.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24.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67.xml"/><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image" Target="../media/image20.png"/><Relationship Id="rId21" Type="http://schemas.openxmlformats.org/officeDocument/2006/relationships/image" Target="../media/image36.jpeg"/><Relationship Id="rId7" Type="http://schemas.openxmlformats.org/officeDocument/2006/relationships/image" Target="../media/image23.png"/><Relationship Id="rId12" Type="http://schemas.openxmlformats.org/officeDocument/2006/relationships/image" Target="../media/image27.jpeg"/><Relationship Id="rId17" Type="http://schemas.openxmlformats.org/officeDocument/2006/relationships/image" Target="../media/image32.png"/><Relationship Id="rId2" Type="http://schemas.openxmlformats.org/officeDocument/2006/relationships/notesSlide" Target="../notesSlides/notesSlide15.xml"/><Relationship Id="rId16" Type="http://schemas.openxmlformats.org/officeDocument/2006/relationships/image" Target="../media/image31.jpeg"/><Relationship Id="rId20" Type="http://schemas.openxmlformats.org/officeDocument/2006/relationships/image" Target="../media/image35.jpg"/><Relationship Id="rId1" Type="http://schemas.openxmlformats.org/officeDocument/2006/relationships/slideLayout" Target="../slideLayouts/slideLayout61.xml"/><Relationship Id="rId6" Type="http://schemas.openxmlformats.org/officeDocument/2006/relationships/image" Target="../media/image22.png"/><Relationship Id="rId11" Type="http://schemas.openxmlformats.org/officeDocument/2006/relationships/image" Target="../media/image26.png"/><Relationship Id="rId5" Type="http://schemas.openxmlformats.org/officeDocument/2006/relationships/hyperlink" Target="https://crdm.nicd.ac.za/projects/sapphgene/" TargetMode="External"/><Relationship Id="rId15" Type="http://schemas.openxmlformats.org/officeDocument/2006/relationships/image" Target="../media/image30.png"/><Relationship Id="rId10" Type="http://schemas.openxmlformats.org/officeDocument/2006/relationships/image" Target="../media/image25.jpeg"/><Relationship Id="rId19" Type="http://schemas.openxmlformats.org/officeDocument/2006/relationships/image" Target="../media/image34.png"/><Relationship Id="rId4" Type="http://schemas.openxmlformats.org/officeDocument/2006/relationships/image" Target="../media/image21.png"/><Relationship Id="rId9" Type="http://schemas.openxmlformats.org/officeDocument/2006/relationships/image" Target="../media/image24.png"/><Relationship Id="rId1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6.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79960" y="4708900"/>
            <a:ext cx="5555688" cy="369332"/>
          </a:xfrm>
          <a:prstGeom prst="rect">
            <a:avLst/>
          </a:prstGeom>
          <a:noFill/>
        </p:spPr>
        <p:txBody>
          <a:bodyPr wrap="none" rtlCol="0">
            <a:spAutoFit/>
          </a:bodyPr>
          <a:lstStyle/>
          <a:p>
            <a:r>
              <a:rPr lang="en-US" b="1" dirty="0">
                <a:solidFill>
                  <a:srgbClr val="FF0000"/>
                </a:solidFill>
                <a:latin typeface="+mj-lt"/>
              </a:rPr>
              <a:t>With thanks to colleagues from CRDM and SCF at the NICD </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62972" y="5277411"/>
            <a:ext cx="3766047" cy="1404205"/>
          </a:xfrm>
          <a:prstGeom prst="rect">
            <a:avLst/>
          </a:prstGeom>
        </p:spPr>
      </p:pic>
      <p:sp>
        <p:nvSpPr>
          <p:cNvPr id="8" name="Subtitle 7"/>
          <p:cNvSpPr>
            <a:spLocks noGrp="1"/>
          </p:cNvSpPr>
          <p:nvPr>
            <p:ph type="subTitle" idx="1"/>
          </p:nvPr>
        </p:nvSpPr>
        <p:spPr>
          <a:xfrm>
            <a:off x="439200" y="2774115"/>
            <a:ext cx="10697593" cy="1938111"/>
          </a:xfrm>
        </p:spPr>
        <p:txBody>
          <a:bodyPr>
            <a:normAutofit/>
          </a:bodyPr>
          <a:lstStyle/>
          <a:p>
            <a:endParaRPr lang="en-US" dirty="0">
              <a:solidFill>
                <a:schemeClr val="bg1">
                  <a:lumMod val="50000"/>
                </a:schemeClr>
              </a:solidFill>
              <a:latin typeface="+mj-lt"/>
            </a:endParaRPr>
          </a:p>
          <a:p>
            <a:r>
              <a:rPr lang="en-US" dirty="0" smtClean="0">
                <a:solidFill>
                  <a:schemeClr val="bg1">
                    <a:lumMod val="50000"/>
                  </a:schemeClr>
                </a:solidFill>
                <a:latin typeface="+mj-lt"/>
              </a:rPr>
              <a:t>10 September 2025</a:t>
            </a:r>
            <a:endParaRPr lang="en-US" dirty="0">
              <a:solidFill>
                <a:schemeClr val="bg1">
                  <a:lumMod val="50000"/>
                </a:schemeClr>
              </a:solidFill>
              <a:latin typeface="+mj-lt"/>
            </a:endParaRPr>
          </a:p>
          <a:p>
            <a:endParaRPr lang="en-ZA" dirty="0">
              <a:latin typeface="+mj-lt"/>
            </a:endParaRPr>
          </a:p>
        </p:txBody>
      </p:sp>
      <p:sp>
        <p:nvSpPr>
          <p:cNvPr id="11" name="TextBox 10"/>
          <p:cNvSpPr txBox="1"/>
          <p:nvPr/>
        </p:nvSpPr>
        <p:spPr>
          <a:xfrm>
            <a:off x="439200" y="269938"/>
            <a:ext cx="11203620" cy="1938992"/>
          </a:xfrm>
          <a:prstGeom prst="rect">
            <a:avLst/>
          </a:prstGeom>
          <a:noFill/>
        </p:spPr>
        <p:txBody>
          <a:bodyPr wrap="square" rtlCol="0">
            <a:spAutoFit/>
          </a:bodyPr>
          <a:lstStyle/>
          <a:p>
            <a:pPr algn="ctr"/>
            <a:r>
              <a:rPr lang="en-GB" sz="4000" dirty="0">
                <a:latin typeface="+mj-lt"/>
              </a:rPr>
              <a:t>Integration of genomics into surveillance and risk assessment for outbreak investigation: case studies from South Africa </a:t>
            </a:r>
            <a:endParaRPr lang="en-ZA" sz="4000" dirty="0">
              <a:latin typeface="+mj-lt"/>
            </a:endParaRPr>
          </a:p>
        </p:txBody>
      </p:sp>
    </p:spTree>
    <p:extLst>
      <p:ext uri="{BB962C8B-B14F-4D97-AF65-F5344CB8AC3E}">
        <p14:creationId xmlns:p14="http://schemas.microsoft.com/office/powerpoint/2010/main" val="966915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3201" y="1733322"/>
            <a:ext cx="6163482" cy="4431983"/>
          </a:xfrm>
          <a:prstGeom prst="rect">
            <a:avLst/>
          </a:prstGeom>
        </p:spPr>
        <p:txBody>
          <a:bodyPr wrap="none">
            <a:spAutoFit/>
          </a:bodyPr>
          <a:lstStyle/>
          <a:p>
            <a:pPr algn="ctr" defTabSz="342900">
              <a:defRPr/>
            </a:pPr>
            <a:endParaRPr lang="en-US" sz="1500" b="1" i="1" dirty="0">
              <a:cs typeface="Arial" panose="020B0604020202020204" pitchFamily="34" charset="0"/>
            </a:endParaRPr>
          </a:p>
          <a:p>
            <a:pPr marL="257175" indent="-257175" defTabSz="342900">
              <a:buFont typeface="Arial" panose="020B0604020202020204" pitchFamily="34" charset="0"/>
              <a:buChar char="•"/>
              <a:defRPr/>
            </a:pPr>
            <a:endParaRPr lang="en-US" dirty="0" smtClean="0">
              <a:cs typeface="Arial" panose="020B0604020202020204" pitchFamily="34" charset="0"/>
            </a:endParaRPr>
          </a:p>
          <a:p>
            <a:pPr marL="257175" indent="-257175" defTabSz="342900">
              <a:buFont typeface="Arial" panose="020B0604020202020204" pitchFamily="34" charset="0"/>
              <a:buChar char="•"/>
              <a:defRPr/>
            </a:pPr>
            <a:r>
              <a:rPr lang="en-US" dirty="0" smtClean="0">
                <a:latin typeface="+mj-lt"/>
                <a:cs typeface="Arial" panose="020B0604020202020204" pitchFamily="34" charset="0"/>
              </a:rPr>
              <a:t>Causes </a:t>
            </a:r>
            <a:r>
              <a:rPr lang="en-US" dirty="0">
                <a:latin typeface="+mj-lt"/>
                <a:cs typeface="Arial" panose="020B0604020202020204" pitchFamily="34" charset="0"/>
              </a:rPr>
              <a:t>invasive meningococcal disease (IMD</a:t>
            </a:r>
            <a:r>
              <a:rPr lang="en-US" dirty="0" smtClean="0">
                <a:latin typeface="+mj-lt"/>
                <a:cs typeface="Arial" panose="020B0604020202020204" pitchFamily="34" charset="0"/>
              </a:rPr>
              <a:t>)</a:t>
            </a:r>
          </a:p>
          <a:p>
            <a:pPr marL="257175" indent="-257175" defTabSz="342900">
              <a:buFont typeface="Arial" panose="020B0604020202020204" pitchFamily="34" charset="0"/>
              <a:buChar char="•"/>
              <a:defRPr/>
            </a:pPr>
            <a:endParaRPr lang="en-US" dirty="0" smtClean="0">
              <a:latin typeface="+mj-lt"/>
              <a:cs typeface="Arial" panose="020B0604020202020204" pitchFamily="34" charset="0"/>
            </a:endParaRPr>
          </a:p>
          <a:p>
            <a:pPr marL="257175" indent="-257175" defTabSz="342900">
              <a:buFont typeface="Arial" panose="020B0604020202020204" pitchFamily="34" charset="0"/>
              <a:buChar char="•"/>
              <a:defRPr/>
            </a:pPr>
            <a:r>
              <a:rPr lang="en-US" dirty="0" smtClean="0">
                <a:latin typeface="+mj-lt"/>
                <a:cs typeface="Arial" panose="020B0604020202020204" pitchFamily="34" charset="0"/>
              </a:rPr>
              <a:t>Global case fatality rate of 4% to 20%</a:t>
            </a:r>
          </a:p>
          <a:p>
            <a:pPr defTabSz="342900">
              <a:defRPr/>
            </a:pPr>
            <a:endParaRPr lang="en-US" dirty="0" smtClean="0">
              <a:latin typeface="+mj-lt"/>
              <a:cs typeface="Arial" panose="020B0604020202020204" pitchFamily="34" charset="0"/>
            </a:endParaRPr>
          </a:p>
          <a:p>
            <a:pPr marL="257175" indent="-257175" defTabSz="342900">
              <a:buFont typeface="Arial" panose="020B0604020202020204" pitchFamily="34" charset="0"/>
              <a:buChar char="•"/>
              <a:defRPr/>
            </a:pPr>
            <a:r>
              <a:rPr lang="en-US" dirty="0">
                <a:latin typeface="+mj-lt"/>
                <a:cs typeface="Arial" panose="020B0604020202020204" pitchFamily="34" charset="0"/>
              </a:rPr>
              <a:t>R</a:t>
            </a:r>
            <a:r>
              <a:rPr lang="en-US" dirty="0" smtClean="0">
                <a:latin typeface="+mj-lt"/>
                <a:cs typeface="Arial" panose="020B0604020202020204" pitchFamily="34" charset="0"/>
              </a:rPr>
              <a:t>egional </a:t>
            </a:r>
            <a:r>
              <a:rPr lang="en-US" dirty="0">
                <a:latin typeface="+mj-lt"/>
                <a:cs typeface="Arial" panose="020B0604020202020204" pitchFamily="34" charset="0"/>
              </a:rPr>
              <a:t>outbreaks and </a:t>
            </a:r>
            <a:r>
              <a:rPr lang="en-US" dirty="0" smtClean="0">
                <a:latin typeface="+mj-lt"/>
                <a:cs typeface="Arial" panose="020B0604020202020204" pitchFamily="34" charset="0"/>
              </a:rPr>
              <a:t>epidemics</a:t>
            </a:r>
          </a:p>
          <a:p>
            <a:pPr defTabSz="342900">
              <a:defRPr/>
            </a:pPr>
            <a:endParaRPr lang="en-US" dirty="0" smtClean="0">
              <a:latin typeface="+mj-lt"/>
              <a:cs typeface="Arial" panose="020B0604020202020204" pitchFamily="34" charset="0"/>
            </a:endParaRPr>
          </a:p>
          <a:p>
            <a:pPr marL="257175" indent="-257175" defTabSz="342900">
              <a:buFont typeface="Arial" panose="020B0604020202020204" pitchFamily="34" charset="0"/>
              <a:buChar char="•"/>
              <a:defRPr/>
            </a:pPr>
            <a:r>
              <a:rPr lang="en-US" dirty="0" smtClean="0">
                <a:latin typeface="+mj-lt"/>
                <a:cs typeface="Arial" panose="020B0604020202020204" pitchFamily="34" charset="0"/>
              </a:rPr>
              <a:t>IMD is a notifiable </a:t>
            </a:r>
            <a:r>
              <a:rPr lang="en-US" dirty="0">
                <a:latin typeface="+mj-lt"/>
                <a:cs typeface="Arial" panose="020B0604020202020204" pitchFamily="34" charset="0"/>
              </a:rPr>
              <a:t>medical condition (category 1) in SA</a:t>
            </a:r>
          </a:p>
          <a:p>
            <a:pPr defTabSz="342900">
              <a:defRPr/>
            </a:pPr>
            <a:endParaRPr lang="en-US" dirty="0">
              <a:latin typeface="+mj-lt"/>
              <a:cs typeface="Arial" panose="020B0604020202020204" pitchFamily="34" charset="0"/>
            </a:endParaRPr>
          </a:p>
          <a:p>
            <a:pPr marL="257175" indent="-257175" defTabSz="342900">
              <a:buFont typeface="Arial" panose="020B0604020202020204" pitchFamily="34" charset="0"/>
              <a:buChar char="•"/>
              <a:defRPr/>
            </a:pPr>
            <a:r>
              <a:rPr lang="en-US" dirty="0" smtClean="0">
                <a:latin typeface="+mj-lt"/>
                <a:cs typeface="Arial" panose="020B0604020202020204" pitchFamily="34" charset="0"/>
              </a:rPr>
              <a:t>4 common capsular </a:t>
            </a:r>
            <a:r>
              <a:rPr lang="en-US" dirty="0">
                <a:latin typeface="+mj-lt"/>
                <a:cs typeface="Arial" panose="020B0604020202020204" pitchFamily="34" charset="0"/>
              </a:rPr>
              <a:t>grouping (</a:t>
            </a:r>
            <a:r>
              <a:rPr lang="en-US" dirty="0" smtClean="0">
                <a:latin typeface="+mj-lt"/>
                <a:cs typeface="Arial" panose="020B0604020202020204" pitchFamily="34" charset="0"/>
              </a:rPr>
              <a:t>A, B, C, Y, W) are common in SA</a:t>
            </a:r>
          </a:p>
          <a:p>
            <a:pPr marL="257175" indent="-257175" defTabSz="342900">
              <a:buFont typeface="Arial" panose="020B0604020202020204" pitchFamily="34" charset="0"/>
              <a:buChar char="•"/>
              <a:defRPr/>
            </a:pPr>
            <a:endParaRPr lang="en-US" dirty="0" smtClean="0">
              <a:latin typeface="+mj-lt"/>
              <a:cs typeface="Arial" panose="020B0604020202020204" pitchFamily="34" charset="0"/>
            </a:endParaRPr>
          </a:p>
          <a:p>
            <a:pPr defTabSz="342900">
              <a:defRPr/>
            </a:pPr>
            <a:endParaRPr lang="en-US" dirty="0" smtClean="0">
              <a:latin typeface="+mj-lt"/>
              <a:cs typeface="Arial" panose="020B0604020202020204" pitchFamily="34" charset="0"/>
            </a:endParaRPr>
          </a:p>
          <a:p>
            <a:pPr defTabSz="342900">
              <a:defRPr/>
            </a:pPr>
            <a:endParaRPr lang="en-US" dirty="0">
              <a:latin typeface="+mj-lt"/>
              <a:cs typeface="Arial" panose="020B0604020202020204" pitchFamily="34" charset="0"/>
            </a:endParaRPr>
          </a:p>
          <a:p>
            <a:pPr defTabSz="342900">
              <a:defRPr/>
            </a:pPr>
            <a:endParaRPr lang="en-US" dirty="0">
              <a:latin typeface="+mj-lt"/>
              <a:cs typeface="Arial" panose="020B0604020202020204" pitchFamily="34" charset="0"/>
            </a:endParaRPr>
          </a:p>
          <a:p>
            <a:pPr marL="214313" indent="-214313" defTabSz="342900">
              <a:buFont typeface="Wingdings" panose="05000000000000000000" pitchFamily="2" charset="2"/>
              <a:buChar char="§"/>
              <a:defRPr/>
            </a:pPr>
            <a:endParaRPr lang="en-US" sz="1500" dirty="0">
              <a:latin typeface="+mj-lt"/>
              <a:cs typeface="Arial" panose="020B0604020202020204" pitchFamily="34" charset="0"/>
            </a:endParaRP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b="51143"/>
          <a:stretch/>
        </p:blipFill>
        <p:spPr>
          <a:xfrm>
            <a:off x="7644690" y="1617957"/>
            <a:ext cx="3850623" cy="3701113"/>
          </a:xfrm>
          <a:prstGeom prst="rect">
            <a:avLst/>
          </a:prstGeom>
        </p:spPr>
      </p:pic>
      <p:sp>
        <p:nvSpPr>
          <p:cNvPr id="4" name="TextBox 3"/>
          <p:cNvSpPr txBox="1"/>
          <p:nvPr/>
        </p:nvSpPr>
        <p:spPr>
          <a:xfrm>
            <a:off x="7644691" y="5535390"/>
            <a:ext cx="4095338" cy="438582"/>
          </a:xfrm>
          <a:prstGeom prst="rect">
            <a:avLst/>
          </a:prstGeom>
          <a:noFill/>
        </p:spPr>
        <p:txBody>
          <a:bodyPr wrap="square" rtlCol="0">
            <a:spAutoFit/>
          </a:bodyPr>
          <a:lstStyle/>
          <a:p>
            <a:pPr algn="just"/>
            <a:r>
              <a:rPr lang="en-US" sz="750" dirty="0"/>
              <a:t>Adapted from: Kim, J. H. (2016) ‘A Challenge in Vaccine Development — Neisseria meningitidis Serogroup B’, </a:t>
            </a:r>
            <a:r>
              <a:rPr lang="en-US" sz="750" i="1" dirty="0"/>
              <a:t>New England Journal of Medicine</a:t>
            </a:r>
            <a:r>
              <a:rPr lang="en-US" sz="750" dirty="0"/>
              <a:t>, 375(3), pp. 275–278. </a:t>
            </a:r>
            <a:r>
              <a:rPr lang="en-US" sz="750" dirty="0" err="1"/>
              <a:t>doi</a:t>
            </a:r>
            <a:r>
              <a:rPr lang="en-US" sz="750" dirty="0"/>
              <a:t>: 10.1056/NEJMe1606015</a:t>
            </a:r>
            <a:endParaRPr lang="en-US" sz="375" dirty="0"/>
          </a:p>
        </p:txBody>
      </p:sp>
      <p:sp>
        <p:nvSpPr>
          <p:cNvPr id="5" name="TextBox 4">
            <a:extLst>
              <a:ext uri="{FF2B5EF4-FFF2-40B4-BE49-F238E27FC236}">
                <a16:creationId xmlns:a16="http://schemas.microsoft.com/office/drawing/2014/main" id="{AAB3273E-93F7-DD05-DBF1-AB85C79641EA}"/>
              </a:ext>
            </a:extLst>
          </p:cNvPr>
          <p:cNvSpPr txBox="1"/>
          <p:nvPr/>
        </p:nvSpPr>
        <p:spPr>
          <a:xfrm>
            <a:off x="4390551" y="521580"/>
            <a:ext cx="2023310" cy="461665"/>
          </a:xfrm>
          <a:prstGeom prst="rect">
            <a:avLst/>
          </a:prstGeom>
          <a:noFill/>
          <a:ln>
            <a:noFill/>
          </a:ln>
        </p:spPr>
        <p:style>
          <a:lnRef idx="2">
            <a:schemeClr val="dk1">
              <a:shade val="15000"/>
            </a:schemeClr>
          </a:lnRef>
          <a:fillRef idx="1">
            <a:schemeClr val="dk1"/>
          </a:fillRef>
          <a:effectRef idx="0">
            <a:schemeClr val="dk1"/>
          </a:effectRef>
          <a:fontRef idx="minor">
            <a:schemeClr val="lt1"/>
          </a:fontRef>
        </p:style>
        <p:txBody>
          <a:bodyPr wrap="none" rtlCol="0">
            <a:spAutoFit/>
          </a:bodyPr>
          <a:lstStyle/>
          <a:p>
            <a:pPr algn="ctr" defTabSz="342900">
              <a:defRPr/>
            </a:pPr>
            <a:r>
              <a:rPr lang="en-US" sz="2400" i="1" dirty="0" smtClean="0">
                <a:solidFill>
                  <a:schemeClr val="tx1"/>
                </a:solidFill>
                <a:latin typeface="+mj-lt"/>
                <a:cs typeface="Arial" panose="020B0604020202020204" pitchFamily="34" charset="0"/>
              </a:rPr>
              <a:t>N</a:t>
            </a:r>
            <a:r>
              <a:rPr lang="en-US" sz="2400" i="1" dirty="0">
                <a:solidFill>
                  <a:schemeClr val="tx1"/>
                </a:solidFill>
                <a:latin typeface="+mj-lt"/>
                <a:cs typeface="Arial" panose="020B0604020202020204" pitchFamily="34" charset="0"/>
              </a:rPr>
              <a:t>. meningitidis</a:t>
            </a:r>
          </a:p>
        </p:txBody>
      </p:sp>
    </p:spTree>
    <p:extLst>
      <p:ext uri="{BB962C8B-B14F-4D97-AF65-F5344CB8AC3E}">
        <p14:creationId xmlns:p14="http://schemas.microsoft.com/office/powerpoint/2010/main" val="12777453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CF571F-7443-90AD-51BB-73E4B2586D9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944" r="17500" b="10753"/>
          <a:stretch/>
        </p:blipFill>
        <p:spPr>
          <a:xfrm>
            <a:off x="0" y="275754"/>
            <a:ext cx="7837714" cy="5656784"/>
          </a:xfrm>
          <a:prstGeom prst="rect">
            <a:avLst/>
          </a:prstGeom>
        </p:spPr>
      </p:pic>
      <p:sp>
        <p:nvSpPr>
          <p:cNvPr id="14" name="TextBox 13">
            <a:extLst>
              <a:ext uri="{FF2B5EF4-FFF2-40B4-BE49-F238E27FC236}">
                <a16:creationId xmlns:a16="http://schemas.microsoft.com/office/drawing/2014/main" id="{7E33A9CD-4B76-21DD-9205-A70460C1AB1F}"/>
              </a:ext>
            </a:extLst>
          </p:cNvPr>
          <p:cNvSpPr txBox="1"/>
          <p:nvPr/>
        </p:nvSpPr>
        <p:spPr>
          <a:xfrm>
            <a:off x="180870" y="5950461"/>
            <a:ext cx="5987845" cy="646331"/>
          </a:xfrm>
          <a:prstGeom prst="rect">
            <a:avLst/>
          </a:prstGeom>
          <a:noFill/>
        </p:spPr>
        <p:txBody>
          <a:bodyPr wrap="square">
            <a:spAutoFit/>
          </a:bodyPr>
          <a:lstStyle/>
          <a:p>
            <a:r>
              <a:rPr lang="en-US" sz="1200" dirty="0">
                <a:effectLst/>
                <a:latin typeface="+mj-lt"/>
                <a:ea typeface="Calibri" panose="020F0502020204030204" pitchFamily="34" charset="0"/>
              </a:rPr>
              <a:t>R. L. Mikhari </a:t>
            </a:r>
            <a:r>
              <a:rPr lang="en-US" sz="1200" i="1" dirty="0">
                <a:effectLst/>
                <a:latin typeface="+mj-lt"/>
                <a:ea typeface="Calibri" panose="020F0502020204030204" pitchFamily="34" charset="0"/>
              </a:rPr>
              <a:t>et al.</a:t>
            </a:r>
            <a:r>
              <a:rPr lang="en-US" sz="1200" dirty="0">
                <a:effectLst/>
                <a:latin typeface="+mj-lt"/>
                <a:ea typeface="Calibri" panose="020F0502020204030204" pitchFamily="34" charset="0"/>
              </a:rPr>
              <a:t>, “ Genomic Diversity and Antimicrobial Susceptibility of Invasive Neisseria meningitidis in South Africa, 2016–2021 ,” </a:t>
            </a:r>
            <a:r>
              <a:rPr lang="en-US" sz="1200" i="1" dirty="0">
                <a:effectLst/>
                <a:latin typeface="+mj-lt"/>
                <a:ea typeface="Calibri" panose="020F0502020204030204" pitchFamily="34" charset="0"/>
              </a:rPr>
              <a:t>J. Infect. Dis.</a:t>
            </a:r>
            <a:r>
              <a:rPr lang="en-US" sz="1200" dirty="0">
                <a:effectLst/>
                <a:latin typeface="+mj-lt"/>
                <a:ea typeface="Calibri" panose="020F0502020204030204" pitchFamily="34" charset="0"/>
              </a:rPr>
              <a:t>, vol. 230, no. 6, pp. 1311–1321, 2024, </a:t>
            </a:r>
            <a:r>
              <a:rPr lang="en-US" sz="1200" dirty="0" err="1">
                <a:effectLst/>
                <a:latin typeface="+mj-lt"/>
                <a:ea typeface="Calibri" panose="020F0502020204030204" pitchFamily="34" charset="0"/>
              </a:rPr>
              <a:t>doi</a:t>
            </a:r>
            <a:r>
              <a:rPr lang="en-US" sz="1200" dirty="0">
                <a:effectLst/>
                <a:latin typeface="+mj-lt"/>
                <a:ea typeface="Calibri" panose="020F0502020204030204" pitchFamily="34" charset="0"/>
              </a:rPr>
              <a:t>: 10.1093/</a:t>
            </a:r>
            <a:r>
              <a:rPr lang="en-US" sz="1200" dirty="0" err="1">
                <a:effectLst/>
                <a:latin typeface="+mj-lt"/>
                <a:ea typeface="Calibri" panose="020F0502020204030204" pitchFamily="34" charset="0"/>
              </a:rPr>
              <a:t>infdis</a:t>
            </a:r>
            <a:r>
              <a:rPr lang="en-US" sz="1200" dirty="0">
                <a:effectLst/>
                <a:latin typeface="+mj-lt"/>
                <a:ea typeface="Calibri" panose="020F0502020204030204" pitchFamily="34" charset="0"/>
              </a:rPr>
              <a:t>/jiae225</a:t>
            </a:r>
            <a:r>
              <a:rPr lang="en-ZA" sz="1200" dirty="0">
                <a:effectLst/>
                <a:latin typeface="+mj-lt"/>
              </a:rPr>
              <a:t> </a:t>
            </a:r>
            <a:endParaRPr lang="en-US" sz="1200" dirty="0">
              <a:latin typeface="+mj-lt"/>
            </a:endParaRPr>
          </a:p>
        </p:txBody>
      </p:sp>
      <p:sp>
        <p:nvSpPr>
          <p:cNvPr id="15" name="TextBox 14">
            <a:extLst>
              <a:ext uri="{FF2B5EF4-FFF2-40B4-BE49-F238E27FC236}">
                <a16:creationId xmlns:a16="http://schemas.microsoft.com/office/drawing/2014/main" id="{1BE5B41F-1420-C290-ED54-D0902D327522}"/>
              </a:ext>
            </a:extLst>
          </p:cNvPr>
          <p:cNvSpPr txBox="1"/>
          <p:nvPr/>
        </p:nvSpPr>
        <p:spPr>
          <a:xfrm>
            <a:off x="8412725" y="2087144"/>
            <a:ext cx="3779275" cy="3139321"/>
          </a:xfrm>
          <a:prstGeom prst="rect">
            <a:avLst/>
          </a:prstGeom>
          <a:noFill/>
        </p:spPr>
        <p:txBody>
          <a:bodyPr wrap="square" rtlCol="0">
            <a:spAutoFit/>
          </a:bodyPr>
          <a:lstStyle/>
          <a:p>
            <a:pPr marL="285750" indent="-285750">
              <a:buFont typeface="Arial" panose="020B0604020202020204" pitchFamily="34" charset="0"/>
              <a:buChar char="•"/>
            </a:pPr>
            <a:r>
              <a:rPr lang="en-ZA" dirty="0">
                <a:latin typeface="+mj-lt"/>
              </a:rPr>
              <a:t>Predominant lineages include: </a:t>
            </a:r>
          </a:p>
          <a:p>
            <a:r>
              <a:rPr lang="en-ZA" dirty="0">
                <a:latin typeface="+mj-lt"/>
              </a:rPr>
              <a:t>     - NmB (CC41/44, </a:t>
            </a:r>
            <a:r>
              <a:rPr lang="en-ZA" dirty="0" smtClean="0">
                <a:latin typeface="+mj-lt"/>
              </a:rPr>
              <a:t>CC32, CC213),</a:t>
            </a:r>
          </a:p>
          <a:p>
            <a:r>
              <a:rPr lang="en-US" dirty="0">
                <a:latin typeface="+mj-lt"/>
              </a:rPr>
              <a:t> </a:t>
            </a:r>
            <a:r>
              <a:rPr lang="en-US" dirty="0" smtClean="0">
                <a:latin typeface="+mj-lt"/>
              </a:rPr>
              <a:t>        common globally</a:t>
            </a:r>
            <a:endParaRPr lang="en-ZA" dirty="0" smtClean="0">
              <a:latin typeface="+mj-lt"/>
            </a:endParaRPr>
          </a:p>
          <a:p>
            <a:r>
              <a:rPr lang="en-ZA" dirty="0" smtClean="0">
                <a:latin typeface="+mj-lt"/>
              </a:rPr>
              <a:t> </a:t>
            </a:r>
            <a:r>
              <a:rPr lang="en-ZA" dirty="0">
                <a:latin typeface="+mj-lt"/>
              </a:rPr>
              <a:t>	</a:t>
            </a:r>
          </a:p>
          <a:p>
            <a:r>
              <a:rPr lang="en-ZA" dirty="0">
                <a:latin typeface="+mj-lt"/>
              </a:rPr>
              <a:t>     - </a:t>
            </a:r>
            <a:r>
              <a:rPr lang="en-ZA" dirty="0" err="1">
                <a:latin typeface="+mj-lt"/>
              </a:rPr>
              <a:t>NmW</a:t>
            </a:r>
            <a:r>
              <a:rPr lang="en-ZA" dirty="0">
                <a:latin typeface="+mj-lt"/>
              </a:rPr>
              <a:t> (CC11</a:t>
            </a:r>
            <a:r>
              <a:rPr lang="en-ZA" dirty="0" smtClean="0">
                <a:latin typeface="+mj-lt"/>
              </a:rPr>
              <a:t>) </a:t>
            </a:r>
          </a:p>
          <a:p>
            <a:r>
              <a:rPr lang="en-ZA" dirty="0">
                <a:latin typeface="+mj-lt"/>
              </a:rPr>
              <a:t> </a:t>
            </a:r>
            <a:r>
              <a:rPr lang="en-ZA" dirty="0" smtClean="0">
                <a:latin typeface="+mj-lt"/>
              </a:rPr>
              <a:t>       </a:t>
            </a:r>
            <a:r>
              <a:rPr lang="en-US" dirty="0">
                <a:latin typeface="+mj-lt"/>
              </a:rPr>
              <a:t>C</a:t>
            </a:r>
            <a:r>
              <a:rPr lang="en-US" dirty="0" smtClean="0">
                <a:latin typeface="+mj-lt"/>
              </a:rPr>
              <a:t>aused </a:t>
            </a:r>
            <a:r>
              <a:rPr lang="en-US" dirty="0">
                <a:latin typeface="+mj-lt"/>
              </a:rPr>
              <a:t>epidemics </a:t>
            </a:r>
            <a:r>
              <a:rPr lang="en-US" dirty="0" smtClean="0">
                <a:latin typeface="+mj-lt"/>
              </a:rPr>
              <a:t>across the</a:t>
            </a:r>
          </a:p>
          <a:p>
            <a:r>
              <a:rPr lang="en-US" dirty="0">
                <a:latin typeface="+mj-lt"/>
              </a:rPr>
              <a:t> </a:t>
            </a:r>
            <a:r>
              <a:rPr lang="en-US" dirty="0" smtClean="0">
                <a:latin typeface="+mj-lt"/>
              </a:rPr>
              <a:t>       globe</a:t>
            </a:r>
            <a:endParaRPr lang="en-ZA" dirty="0">
              <a:latin typeface="+mj-lt"/>
            </a:endParaRPr>
          </a:p>
          <a:p>
            <a:r>
              <a:rPr lang="en-ZA" dirty="0">
                <a:latin typeface="+mj-lt"/>
              </a:rPr>
              <a:t>     </a:t>
            </a:r>
          </a:p>
          <a:p>
            <a:r>
              <a:rPr lang="en-ZA" dirty="0">
                <a:latin typeface="+mj-lt"/>
              </a:rPr>
              <a:t>     - </a:t>
            </a:r>
            <a:r>
              <a:rPr lang="en-ZA" dirty="0" err="1">
                <a:latin typeface="+mj-lt"/>
              </a:rPr>
              <a:t>NmC</a:t>
            </a:r>
            <a:r>
              <a:rPr lang="en-ZA" dirty="0">
                <a:latin typeface="+mj-lt"/>
              </a:rPr>
              <a:t> (</a:t>
            </a:r>
            <a:r>
              <a:rPr lang="en-ZA" dirty="0" smtClean="0">
                <a:latin typeface="+mj-lt"/>
              </a:rPr>
              <a:t>CC103), </a:t>
            </a:r>
            <a:r>
              <a:rPr lang="en-ZA" dirty="0" err="1">
                <a:latin typeface="+mj-lt"/>
              </a:rPr>
              <a:t>NmY</a:t>
            </a:r>
            <a:r>
              <a:rPr lang="en-ZA" dirty="0">
                <a:latin typeface="+mj-lt"/>
              </a:rPr>
              <a:t> (</a:t>
            </a:r>
            <a:r>
              <a:rPr lang="en-ZA" dirty="0" smtClean="0">
                <a:latin typeface="+mj-lt"/>
              </a:rPr>
              <a:t>CC167</a:t>
            </a:r>
            <a:r>
              <a:rPr lang="en-ZA" dirty="0">
                <a:latin typeface="+mj-lt"/>
              </a:rPr>
              <a:t>, CC23</a:t>
            </a:r>
            <a:r>
              <a:rPr lang="en-ZA" dirty="0" smtClean="0">
                <a:latin typeface="+mj-lt"/>
              </a:rPr>
              <a:t>)</a:t>
            </a:r>
          </a:p>
          <a:p>
            <a:r>
              <a:rPr lang="en-US" dirty="0" smtClean="0">
                <a:latin typeface="+mj-lt"/>
              </a:rPr>
              <a:t>         North America and Europe</a:t>
            </a:r>
            <a:endParaRPr lang="en-ZA" dirty="0">
              <a:latin typeface="+mj-lt"/>
            </a:endParaRPr>
          </a:p>
          <a:p>
            <a:r>
              <a:rPr lang="en-ZA" dirty="0" smtClean="0">
                <a:latin typeface="+mj-lt"/>
              </a:rPr>
              <a:t>       </a:t>
            </a:r>
            <a:endParaRPr lang="en-ZA" dirty="0">
              <a:latin typeface="+mj-lt"/>
            </a:endParaRPr>
          </a:p>
        </p:txBody>
      </p:sp>
      <p:sp>
        <p:nvSpPr>
          <p:cNvPr id="17" name="TextBox 16">
            <a:extLst>
              <a:ext uri="{FF2B5EF4-FFF2-40B4-BE49-F238E27FC236}">
                <a16:creationId xmlns:a16="http://schemas.microsoft.com/office/drawing/2014/main" id="{C93BAF4B-CA04-A105-602B-ED4095CB954D}"/>
              </a:ext>
            </a:extLst>
          </p:cNvPr>
          <p:cNvSpPr txBox="1"/>
          <p:nvPr/>
        </p:nvSpPr>
        <p:spPr>
          <a:xfrm>
            <a:off x="8412725" y="5350297"/>
            <a:ext cx="3779275" cy="923330"/>
          </a:xfrm>
          <a:prstGeom prst="rect">
            <a:avLst/>
          </a:prstGeom>
          <a:noFill/>
        </p:spPr>
        <p:txBody>
          <a:bodyPr wrap="square">
            <a:spAutoFit/>
          </a:bodyPr>
          <a:lstStyle/>
          <a:p>
            <a:pPr marL="285750" indent="-285750">
              <a:buFont typeface="Arial" panose="020B0604020202020204" pitchFamily="34" charset="0"/>
              <a:buChar char="•"/>
            </a:pPr>
            <a:r>
              <a:rPr lang="en-ZA" dirty="0">
                <a:latin typeface="+mj-lt"/>
              </a:rPr>
              <a:t>Penicillin intermediate resistance detected in 16% of isolates</a:t>
            </a:r>
          </a:p>
          <a:p>
            <a:r>
              <a:rPr lang="en-ZA" i="1" dirty="0">
                <a:latin typeface="+mj-lt"/>
              </a:rPr>
              <a:t>      </a:t>
            </a:r>
            <a:endParaRPr lang="en-ZA" dirty="0">
              <a:latin typeface="+mj-lt"/>
            </a:endParaRPr>
          </a:p>
        </p:txBody>
      </p:sp>
      <p:sp>
        <p:nvSpPr>
          <p:cNvPr id="19" name="TextBox 18">
            <a:extLst>
              <a:ext uri="{FF2B5EF4-FFF2-40B4-BE49-F238E27FC236}">
                <a16:creationId xmlns:a16="http://schemas.microsoft.com/office/drawing/2014/main" id="{959535E4-9524-FC04-5662-C9E265A78E93}"/>
              </a:ext>
            </a:extLst>
          </p:cNvPr>
          <p:cNvSpPr txBox="1"/>
          <p:nvPr/>
        </p:nvSpPr>
        <p:spPr>
          <a:xfrm>
            <a:off x="8336526" y="275754"/>
            <a:ext cx="3683409" cy="1477328"/>
          </a:xfrm>
          <a:prstGeom prst="rect">
            <a:avLst/>
          </a:prstGeom>
          <a:noFill/>
        </p:spPr>
        <p:txBody>
          <a:bodyPr wrap="square">
            <a:spAutoFit/>
          </a:bodyPr>
          <a:lstStyle/>
          <a:p>
            <a:pPr marL="285750" indent="-285750">
              <a:buFont typeface="Arial" panose="020B0604020202020204" pitchFamily="34" charset="0"/>
              <a:buChar char="•"/>
            </a:pPr>
            <a:r>
              <a:rPr lang="en-ZA" dirty="0">
                <a:latin typeface="+mj-lt"/>
              </a:rPr>
              <a:t>Core-genome maximum likelihood phylogenetic tree representative of the population structure of invasive meningococcal isolates, South Africa, 2016–2021 (N = 241)</a:t>
            </a:r>
            <a:endParaRPr lang="en-US" dirty="0">
              <a:latin typeface="+mj-lt"/>
            </a:endParaRPr>
          </a:p>
        </p:txBody>
      </p:sp>
    </p:spTree>
    <p:extLst>
      <p:ext uri="{BB962C8B-B14F-4D97-AF65-F5344CB8AC3E}">
        <p14:creationId xmlns:p14="http://schemas.microsoft.com/office/powerpoint/2010/main" val="1129415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7A760-D4E6-D3B6-DD10-154ACB61E13E}"/>
              </a:ext>
            </a:extLst>
          </p:cNvPr>
          <p:cNvSpPr>
            <a:spLocks noGrp="1"/>
          </p:cNvSpPr>
          <p:nvPr>
            <p:ph type="ctrTitle"/>
          </p:nvPr>
        </p:nvSpPr>
        <p:spPr>
          <a:xfrm>
            <a:off x="1634530" y="1688122"/>
            <a:ext cx="9144000" cy="1503345"/>
          </a:xfrm>
        </p:spPr>
        <p:txBody>
          <a:bodyPr>
            <a:normAutofit/>
          </a:bodyPr>
          <a:lstStyle/>
          <a:p>
            <a:r>
              <a:rPr lang="en-US" sz="8000" dirty="0" smtClean="0"/>
              <a:t>Diphtheria </a:t>
            </a:r>
            <a:endParaRPr lang="en-ZA" sz="2800" dirty="0"/>
          </a:p>
        </p:txBody>
      </p:sp>
    </p:spTree>
    <p:extLst>
      <p:ext uri="{BB962C8B-B14F-4D97-AF65-F5344CB8AC3E}">
        <p14:creationId xmlns:p14="http://schemas.microsoft.com/office/powerpoint/2010/main" val="4612117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5588" y="1318182"/>
            <a:ext cx="8778073" cy="4650539"/>
          </a:xfrm>
        </p:spPr>
        <p:txBody>
          <a:bodyPr>
            <a:normAutofit fontScale="85000" lnSpcReduction="20000"/>
          </a:bodyPr>
          <a:lstStyle/>
          <a:p>
            <a:r>
              <a:rPr lang="en-ZA" sz="2400" dirty="0">
                <a:latin typeface="+mj-lt"/>
              </a:rPr>
              <a:t>Category 1 Notifiable Medical Condition (NMC)</a:t>
            </a:r>
          </a:p>
          <a:p>
            <a:pPr marL="0" indent="0">
              <a:buNone/>
            </a:pPr>
            <a:endParaRPr lang="en-ZA" sz="2400" dirty="0">
              <a:latin typeface="+mj-lt"/>
            </a:endParaRPr>
          </a:p>
          <a:p>
            <a:r>
              <a:rPr lang="en-US" sz="2400" dirty="0">
                <a:latin typeface="+mj-lt"/>
              </a:rPr>
              <a:t> Caused by toxin-producing </a:t>
            </a:r>
            <a:r>
              <a:rPr lang="en-US" sz="2400" i="1" dirty="0" err="1">
                <a:latin typeface="+mj-lt"/>
              </a:rPr>
              <a:t>Corynebacterium</a:t>
            </a:r>
            <a:r>
              <a:rPr lang="en-US" sz="2400" i="1" dirty="0">
                <a:latin typeface="+mj-lt"/>
              </a:rPr>
              <a:t> </a:t>
            </a:r>
            <a:r>
              <a:rPr lang="en-US" sz="2400" i="1" dirty="0" err="1">
                <a:latin typeface="+mj-lt"/>
              </a:rPr>
              <a:t>diphtheriae</a:t>
            </a:r>
            <a:r>
              <a:rPr lang="en-US" sz="2400" i="1" dirty="0">
                <a:latin typeface="+mj-lt"/>
              </a:rPr>
              <a:t> </a:t>
            </a:r>
            <a:r>
              <a:rPr lang="en-US" sz="2400" dirty="0">
                <a:latin typeface="+mj-lt"/>
              </a:rPr>
              <a:t>(or rarely </a:t>
            </a:r>
            <a:r>
              <a:rPr lang="en-US" sz="2400" i="1" dirty="0" err="1">
                <a:latin typeface="+mj-lt"/>
              </a:rPr>
              <a:t>C.ulcerans</a:t>
            </a:r>
            <a:r>
              <a:rPr lang="en-US" sz="2400" i="1" dirty="0">
                <a:latin typeface="+mj-lt"/>
              </a:rPr>
              <a:t> </a:t>
            </a:r>
            <a:r>
              <a:rPr lang="en-US" sz="2400" dirty="0">
                <a:latin typeface="+mj-lt"/>
              </a:rPr>
              <a:t>and</a:t>
            </a:r>
            <a:r>
              <a:rPr lang="en-US" sz="2400" i="1" dirty="0">
                <a:latin typeface="+mj-lt"/>
              </a:rPr>
              <a:t> C. pseudotuberculosis</a:t>
            </a:r>
            <a:r>
              <a:rPr lang="en-US" sz="2400" dirty="0">
                <a:latin typeface="+mj-lt"/>
              </a:rPr>
              <a:t>)</a:t>
            </a:r>
          </a:p>
          <a:p>
            <a:pPr marL="0" indent="0">
              <a:buNone/>
            </a:pPr>
            <a:endParaRPr lang="en-US" sz="2400" dirty="0">
              <a:latin typeface="+mj-lt"/>
            </a:endParaRPr>
          </a:p>
          <a:p>
            <a:r>
              <a:rPr lang="en-ZA" sz="2400" dirty="0">
                <a:latin typeface="+mj-lt"/>
              </a:rPr>
              <a:t>Respiratory diphtheria </a:t>
            </a:r>
          </a:p>
          <a:p>
            <a:pPr lvl="1"/>
            <a:r>
              <a:rPr lang="en-US" dirty="0">
                <a:latin typeface="+mj-lt"/>
              </a:rPr>
              <a:t>Most common manifestation </a:t>
            </a:r>
            <a:endParaRPr lang="en-ZA" dirty="0">
              <a:latin typeface="+mj-lt"/>
            </a:endParaRPr>
          </a:p>
          <a:p>
            <a:pPr lvl="1"/>
            <a:r>
              <a:rPr lang="en-ZA" dirty="0">
                <a:latin typeface="+mj-lt"/>
              </a:rPr>
              <a:t>Soar throat, fever, </a:t>
            </a:r>
            <a:r>
              <a:rPr lang="en-US" dirty="0">
                <a:latin typeface="+mj-lt"/>
              </a:rPr>
              <a:t>swollen neck and grey/white </a:t>
            </a:r>
            <a:r>
              <a:rPr lang="en-US" dirty="0" err="1">
                <a:latin typeface="+mj-lt"/>
              </a:rPr>
              <a:t>pseudomembrane</a:t>
            </a:r>
            <a:r>
              <a:rPr lang="en-US" dirty="0">
                <a:latin typeface="+mj-lt"/>
              </a:rPr>
              <a:t> in the upper airway</a:t>
            </a:r>
          </a:p>
          <a:p>
            <a:pPr marL="457200" lvl="1" indent="0">
              <a:buNone/>
            </a:pPr>
            <a:endParaRPr lang="en-US" dirty="0">
              <a:latin typeface="+mj-lt"/>
            </a:endParaRPr>
          </a:p>
          <a:p>
            <a:r>
              <a:rPr lang="en-US" sz="2400" dirty="0">
                <a:latin typeface="+mj-lt"/>
              </a:rPr>
              <a:t>Cutaneous diphtheria</a:t>
            </a:r>
          </a:p>
          <a:p>
            <a:pPr lvl="1"/>
            <a:r>
              <a:rPr lang="en-US" dirty="0">
                <a:latin typeface="+mj-lt"/>
              </a:rPr>
              <a:t>Skin infection </a:t>
            </a:r>
          </a:p>
          <a:p>
            <a:pPr marL="457200" lvl="1" indent="0">
              <a:buNone/>
            </a:pPr>
            <a:endParaRPr lang="en-US" dirty="0">
              <a:latin typeface="+mj-lt"/>
            </a:endParaRPr>
          </a:p>
          <a:p>
            <a:r>
              <a:rPr lang="en-US" sz="2400" dirty="0">
                <a:latin typeface="+mj-lt"/>
              </a:rPr>
              <a:t>Laboratory confirmation</a:t>
            </a:r>
          </a:p>
          <a:p>
            <a:pPr lvl="1"/>
            <a:r>
              <a:rPr lang="en-US" sz="2000" dirty="0">
                <a:latin typeface="+mj-lt"/>
              </a:rPr>
              <a:t>All isolates and/or clinical specimens should be sent to the NICD to confirm identification and toxin production</a:t>
            </a:r>
          </a:p>
          <a:p>
            <a:endParaRPr lang="en-ZA" sz="2400" dirty="0">
              <a:latin typeface="+mj-lt"/>
            </a:endParaRPr>
          </a:p>
          <a:p>
            <a:endParaRPr lang="en-US" sz="2400" dirty="0">
              <a:latin typeface="+mj-lt"/>
            </a:endParaRPr>
          </a:p>
          <a:p>
            <a:endParaRPr lang="en-ZA" dirty="0"/>
          </a:p>
          <a:p>
            <a:endParaRPr lang="en-ZA" dirty="0"/>
          </a:p>
        </p:txBody>
      </p:sp>
      <p:pic>
        <p:nvPicPr>
          <p:cNvPr id="4" name="Picture 3"/>
          <p:cNvPicPr>
            <a:picLocks noChangeAspect="1"/>
          </p:cNvPicPr>
          <p:nvPr/>
        </p:nvPicPr>
        <p:blipFill>
          <a:blip r:embed="rId3"/>
          <a:stretch>
            <a:fillRect/>
          </a:stretch>
        </p:blipFill>
        <p:spPr>
          <a:xfrm>
            <a:off x="8925211" y="2842880"/>
            <a:ext cx="2714130" cy="1601141"/>
          </a:xfrm>
          <a:prstGeom prst="rect">
            <a:avLst/>
          </a:prstGeom>
        </p:spPr>
      </p:pic>
      <p:sp>
        <p:nvSpPr>
          <p:cNvPr id="5" name="TextBox 6"/>
          <p:cNvSpPr txBox="1">
            <a:spLocks noChangeArrowheads="1"/>
          </p:cNvSpPr>
          <p:nvPr/>
        </p:nvSpPr>
        <p:spPr bwMode="auto">
          <a:xfrm>
            <a:off x="2141997" y="240964"/>
            <a:ext cx="585948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defTabSz="457200" eaLnBrk="0" fontAlgn="base" hangingPunct="0">
              <a:spcBef>
                <a:spcPct val="0"/>
              </a:spcBef>
              <a:spcAft>
                <a:spcPct val="0"/>
              </a:spcAft>
              <a:defRPr/>
            </a:pPr>
            <a:r>
              <a:rPr lang="en-ZA" sz="3200" dirty="0">
                <a:latin typeface="+mj-lt"/>
              </a:rPr>
              <a:t>Diphtheria Disease</a:t>
            </a:r>
          </a:p>
          <a:p>
            <a:pPr algn="ctr" defTabSz="457200" eaLnBrk="0" fontAlgn="base" hangingPunct="0">
              <a:spcBef>
                <a:spcPct val="0"/>
              </a:spcBef>
              <a:spcAft>
                <a:spcPct val="0"/>
              </a:spcAft>
              <a:defRPr/>
            </a:pPr>
            <a:endParaRPr lang="en-ZA" altLang="en-US" sz="3200" dirty="0">
              <a:solidFill>
                <a:prstClr val="black"/>
              </a:solidFill>
              <a:latin typeface="Calibri Light" panose="020F0302020204030204"/>
            </a:endParaRPr>
          </a:p>
        </p:txBody>
      </p:sp>
    </p:spTree>
    <p:extLst>
      <p:ext uri="{BB962C8B-B14F-4D97-AF65-F5344CB8AC3E}">
        <p14:creationId xmlns:p14="http://schemas.microsoft.com/office/powerpoint/2010/main" val="20398110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62BE0C32-A608-4A2D-AEF2-68DB538DD596}"/>
              </a:ext>
            </a:extLst>
          </p:cNvPr>
          <p:cNvGraphicFramePr>
            <a:graphicFrameLocks/>
          </p:cNvGraphicFramePr>
          <p:nvPr>
            <p:extLst/>
          </p:nvPr>
        </p:nvGraphicFramePr>
        <p:xfrm>
          <a:off x="0" y="3188781"/>
          <a:ext cx="12192000" cy="35205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84CCD3DE-D0AA-46AA-A567-EBAE5E80F812}"/>
              </a:ext>
            </a:extLst>
          </p:cNvPr>
          <p:cNvGraphicFramePr>
            <a:graphicFrameLocks/>
          </p:cNvGraphicFramePr>
          <p:nvPr>
            <p:extLst/>
          </p:nvPr>
        </p:nvGraphicFramePr>
        <p:xfrm>
          <a:off x="0" y="190997"/>
          <a:ext cx="12192000" cy="302715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461719B9-9AC4-F5AE-DF78-E7D901F28AC4}"/>
              </a:ext>
            </a:extLst>
          </p:cNvPr>
          <p:cNvSpPr txBox="1"/>
          <p:nvPr/>
        </p:nvSpPr>
        <p:spPr>
          <a:xfrm>
            <a:off x="8820725" y="800841"/>
            <a:ext cx="2163461" cy="95410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2015-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26 Respiratory ca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14 Asymptomatic carri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2 Cutaneous cas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ED3C44A-F788-FB44-8620-2B206EF6C01C}"/>
              </a:ext>
            </a:extLst>
          </p:cNvPr>
          <p:cNvSpPr txBox="1"/>
          <p:nvPr/>
        </p:nvSpPr>
        <p:spPr>
          <a:xfrm>
            <a:off x="8820726" y="3190079"/>
            <a:ext cx="2163461" cy="954107"/>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2024-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65 Respiratory ca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48 Asymptomatic carri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2 Cutaneous cas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D65B7B6-BA4A-1584-D699-AEB4DFD0B88F}"/>
              </a:ext>
            </a:extLst>
          </p:cNvPr>
          <p:cNvSpPr txBox="1"/>
          <p:nvPr/>
        </p:nvSpPr>
        <p:spPr>
          <a:xfrm>
            <a:off x="1316451" y="190998"/>
            <a:ext cx="95590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prstClr val="black"/>
                </a:solidFill>
                <a:effectLst/>
                <a:uLnTx/>
                <a:uFillTx/>
                <a:latin typeface="Calibri" panose="020F0502020204030204"/>
                <a:ea typeface="+mn-ea"/>
                <a:cs typeface="+mn-cs"/>
              </a:rPr>
              <a:t>Number of laboratory confirmed toxigenic </a:t>
            </a:r>
            <a:r>
              <a:rPr kumimoji="0" lang="en-ZA" sz="1800" b="1" i="1" u="none" strike="noStrike" kern="1200" cap="none" spc="0" normalizeH="0" baseline="0" noProof="0" dirty="0">
                <a:ln>
                  <a:noFill/>
                </a:ln>
                <a:solidFill>
                  <a:prstClr val="black"/>
                </a:solidFill>
                <a:effectLst/>
                <a:uLnTx/>
                <a:uFillTx/>
                <a:latin typeface="Calibri" panose="020F0502020204030204"/>
                <a:ea typeface="+mn-ea"/>
                <a:cs typeface="+mn-cs"/>
              </a:rPr>
              <a:t>Corynebacterium diphtheriae </a:t>
            </a:r>
            <a:r>
              <a:rPr kumimoji="0" lang="en-ZA" sz="1800" b="1" i="0" u="none" strike="noStrike" kern="1200" cap="none" spc="0" normalizeH="0" baseline="0" noProof="0" dirty="0">
                <a:ln>
                  <a:noFill/>
                </a:ln>
                <a:solidFill>
                  <a:prstClr val="black"/>
                </a:solidFill>
                <a:effectLst/>
                <a:uLnTx/>
                <a:uFillTx/>
                <a:latin typeface="Calibri" panose="020F0502020204030204"/>
                <a:ea typeface="+mn-ea"/>
                <a:cs typeface="+mn-cs"/>
              </a:rPr>
              <a:t>2015-2025, South Africa</a:t>
            </a:r>
          </a:p>
        </p:txBody>
      </p:sp>
    </p:spTree>
    <p:extLst>
      <p:ext uri="{BB962C8B-B14F-4D97-AF65-F5344CB8AC3E}">
        <p14:creationId xmlns:p14="http://schemas.microsoft.com/office/powerpoint/2010/main" val="12258889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87AD55DE-6756-4D00-9D8E-F0DDC6EE62A3}"/>
              </a:ext>
            </a:extLst>
          </p:cNvPr>
          <p:cNvGraphicFramePr>
            <a:graphicFrameLocks/>
          </p:cNvGraphicFramePr>
          <p:nvPr>
            <p:extLst/>
          </p:nvPr>
        </p:nvGraphicFramePr>
        <p:xfrm>
          <a:off x="245374" y="3493080"/>
          <a:ext cx="11701251" cy="325500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5FB123B0-0EE7-CCFB-D669-E2425CFE84EA}"/>
              </a:ext>
            </a:extLst>
          </p:cNvPr>
          <p:cNvSpPr txBox="1"/>
          <p:nvPr/>
        </p:nvSpPr>
        <p:spPr>
          <a:xfrm>
            <a:off x="2339163" y="170121"/>
            <a:ext cx="8559209" cy="369332"/>
          </a:xfrm>
          <a:prstGeom prst="rect">
            <a:avLst/>
          </a:prstGeom>
          <a:noFill/>
        </p:spPr>
        <p:txBody>
          <a:bodyPr wrap="square" rtlCol="0">
            <a:spAutoFit/>
          </a:bodyPr>
          <a:lstStyle/>
          <a:p>
            <a:r>
              <a:rPr lang="en-US" b="1" dirty="0"/>
              <a:t>Whole genome Sequencing results, toxigenic </a:t>
            </a:r>
            <a:r>
              <a:rPr lang="en-US" b="1" i="1" dirty="0"/>
              <a:t>Corynebacterium diphtheriae</a:t>
            </a:r>
            <a:r>
              <a:rPr lang="en-US" b="1" dirty="0"/>
              <a:t>, South Africa </a:t>
            </a:r>
          </a:p>
        </p:txBody>
      </p:sp>
      <p:sp>
        <p:nvSpPr>
          <p:cNvPr id="10" name="TextBox 9">
            <a:extLst>
              <a:ext uri="{FF2B5EF4-FFF2-40B4-BE49-F238E27FC236}">
                <a16:creationId xmlns:a16="http://schemas.microsoft.com/office/drawing/2014/main" id="{CF6A2AC3-73E0-0015-44EB-A53DD0002457}"/>
              </a:ext>
            </a:extLst>
          </p:cNvPr>
          <p:cNvSpPr txBox="1"/>
          <p:nvPr/>
        </p:nvSpPr>
        <p:spPr>
          <a:xfrm>
            <a:off x="9112100" y="955258"/>
            <a:ext cx="1701211" cy="954107"/>
          </a:xfrm>
          <a:prstGeom prst="rect">
            <a:avLst/>
          </a:prstGeom>
          <a:noFill/>
          <a:ln>
            <a:solidFill>
              <a:schemeClr val="tx1"/>
            </a:solidFill>
          </a:ln>
        </p:spPr>
        <p:txBody>
          <a:bodyPr wrap="square" rtlCol="0">
            <a:spAutoFit/>
          </a:bodyPr>
          <a:lstStyle/>
          <a:p>
            <a:r>
              <a:rPr lang="en-ZA" sz="1400" b="1" dirty="0"/>
              <a:t>2015-2023</a:t>
            </a:r>
            <a:r>
              <a:rPr lang="en-ZA" sz="1400" dirty="0"/>
              <a:t/>
            </a:r>
            <a:br>
              <a:rPr lang="en-ZA" sz="1400" dirty="0"/>
            </a:br>
            <a:r>
              <a:rPr lang="en-ZA" sz="1400" dirty="0"/>
              <a:t>29 ST 378 – KZN</a:t>
            </a:r>
          </a:p>
          <a:p>
            <a:r>
              <a:rPr lang="en-ZA" sz="1400" dirty="0"/>
              <a:t>12 ST 906 – WC</a:t>
            </a:r>
            <a:br>
              <a:rPr lang="en-ZA" sz="1400" dirty="0"/>
            </a:br>
            <a:r>
              <a:rPr lang="en-ZA" sz="1400" dirty="0"/>
              <a:t>1 ST 905 - KZN</a:t>
            </a:r>
            <a:endParaRPr lang="en-US" sz="1400" dirty="0"/>
          </a:p>
        </p:txBody>
      </p:sp>
      <p:sp>
        <p:nvSpPr>
          <p:cNvPr id="11" name="TextBox 10">
            <a:extLst>
              <a:ext uri="{FF2B5EF4-FFF2-40B4-BE49-F238E27FC236}">
                <a16:creationId xmlns:a16="http://schemas.microsoft.com/office/drawing/2014/main" id="{30803EEC-884E-3105-35E7-11755AE4C3CF}"/>
              </a:ext>
            </a:extLst>
          </p:cNvPr>
          <p:cNvSpPr txBox="1"/>
          <p:nvPr/>
        </p:nvSpPr>
        <p:spPr>
          <a:xfrm>
            <a:off x="9112100" y="3693441"/>
            <a:ext cx="1935128" cy="1169551"/>
          </a:xfrm>
          <a:prstGeom prst="rect">
            <a:avLst/>
          </a:prstGeom>
          <a:noFill/>
          <a:ln>
            <a:solidFill>
              <a:schemeClr val="tx1"/>
            </a:solidFill>
          </a:ln>
        </p:spPr>
        <p:txBody>
          <a:bodyPr wrap="square" rtlCol="0">
            <a:spAutoFit/>
          </a:bodyPr>
          <a:lstStyle/>
          <a:p>
            <a:r>
              <a:rPr lang="en-ZA" sz="1400" b="1" dirty="0"/>
              <a:t>2024-2025</a:t>
            </a:r>
            <a:r>
              <a:rPr lang="en-ZA" sz="1400" dirty="0"/>
              <a:t/>
            </a:r>
            <a:br>
              <a:rPr lang="en-ZA" sz="1400" dirty="0"/>
            </a:br>
            <a:r>
              <a:rPr lang="en-ZA" sz="1400" dirty="0"/>
              <a:t>3 ST 378 – 2 GA, 1 KZN</a:t>
            </a:r>
          </a:p>
          <a:p>
            <a:r>
              <a:rPr lang="en-ZA" sz="1400" dirty="0"/>
              <a:t>48 ST 906 – WC</a:t>
            </a:r>
          </a:p>
          <a:p>
            <a:r>
              <a:rPr lang="en-ZA" sz="1400" dirty="0"/>
              <a:t>9 ST 824 – 5 LP, 4 MP</a:t>
            </a:r>
            <a:br>
              <a:rPr lang="en-ZA" sz="1400" dirty="0"/>
            </a:br>
            <a:r>
              <a:rPr lang="en-ZA" sz="1400" dirty="0"/>
              <a:t>1 ST 905 – KZN</a:t>
            </a:r>
          </a:p>
        </p:txBody>
      </p:sp>
      <p:graphicFrame>
        <p:nvGraphicFramePr>
          <p:cNvPr id="4" name="Chart 3">
            <a:extLst>
              <a:ext uri="{FF2B5EF4-FFF2-40B4-BE49-F238E27FC236}">
                <a16:creationId xmlns:a16="http://schemas.microsoft.com/office/drawing/2014/main" id="{4D7B460E-078A-44E2-AFA2-9534AA5EBCD6}"/>
              </a:ext>
            </a:extLst>
          </p:cNvPr>
          <p:cNvGraphicFramePr>
            <a:graphicFrameLocks/>
          </p:cNvGraphicFramePr>
          <p:nvPr>
            <p:extLst/>
          </p:nvPr>
        </p:nvGraphicFramePr>
        <p:xfrm>
          <a:off x="245374" y="481421"/>
          <a:ext cx="11701251" cy="30423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528451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89170" y="622707"/>
            <a:ext cx="7047161" cy="2659211"/>
          </a:xfrm>
          <a:prstGeom prst="rect">
            <a:avLst/>
          </a:prstGeom>
        </p:spPr>
      </p:pic>
      <p:pic>
        <p:nvPicPr>
          <p:cNvPr id="12290"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94502" y="139112"/>
            <a:ext cx="1977513" cy="56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2" name="Rectangle 2"/>
          <p:cNvSpPr>
            <a:spLocks noChangeArrowheads="1"/>
          </p:cNvSpPr>
          <p:nvPr/>
        </p:nvSpPr>
        <p:spPr bwMode="auto">
          <a:xfrm>
            <a:off x="7536161" y="22543"/>
            <a:ext cx="3131840" cy="600164"/>
          </a:xfrm>
          <a:prstGeom prst="rect">
            <a:avLst/>
          </a:prstGeom>
          <a:solidFill>
            <a:schemeClr val="bg1">
              <a:alpha val="8117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ct val="20000"/>
              </a:spcBef>
              <a:spcAft>
                <a:spcPts val="0"/>
              </a:spcAft>
              <a:buClr>
                <a:srgbClr val="FFFF00"/>
              </a:buClr>
              <a:buSzPct val="80000"/>
              <a:buFont typeface="Wingdings" pitchFamily="2" charset="2"/>
              <a:buNone/>
              <a:tabLst/>
              <a:defRPr/>
            </a:pPr>
            <a:r>
              <a:rPr kumimoji="0" lang="en-US" altLang="en-US" sz="1100" b="1" i="0" u="none" strike="noStrike" kern="1200" cap="none" spc="0" normalizeH="0" baseline="0" noProof="0" dirty="0">
                <a:ln>
                  <a:noFill/>
                </a:ln>
                <a:solidFill>
                  <a:srgbClr val="000000"/>
                </a:solidFill>
                <a:effectLst/>
                <a:uLnTx/>
                <a:uFillTx/>
                <a:latin typeface="Arial" charset="0"/>
                <a:ea typeface="+mn-ea"/>
                <a:cs typeface="Arial" charset="0"/>
              </a:rPr>
              <a:t>Thank you to all participating patients, laboratory, clinical and administrative staff for submitting case reports and isolates </a:t>
            </a:r>
            <a:endParaRPr kumimoji="0" lang="en-GB" altLang="en-US" sz="1100"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 name="Text Box 3"/>
          <p:cNvSpPr txBox="1">
            <a:spLocks noChangeArrowheads="1"/>
          </p:cNvSpPr>
          <p:nvPr/>
        </p:nvSpPr>
        <p:spPr bwMode="auto">
          <a:xfrm>
            <a:off x="1594503" y="908721"/>
            <a:ext cx="1994667" cy="5632311"/>
          </a:xfrm>
          <a:prstGeom prst="rect">
            <a:avLst/>
          </a:prstGeom>
          <a:solidFill>
            <a:srgbClr val="DDF0C8"/>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44546A"/>
                </a:solidFill>
                <a:effectLst/>
                <a:uLnTx/>
                <a:uFillTx/>
                <a:latin typeface="Calibri Light" panose="020F0302020204030204"/>
                <a:ea typeface="+mn-ea"/>
                <a:cs typeface="Arial" charset="0"/>
              </a:rPr>
              <a:t>NICD Centre staff</a:t>
            </a:r>
            <a:r>
              <a:rPr kumimoji="0" lang="en-US" sz="1000" b="1" i="0" u="none" strike="noStrike" kern="1200" cap="none" spc="0" normalizeH="0" baseline="0" noProof="0" dirty="0">
                <a:ln>
                  <a:noFill/>
                </a:ln>
                <a:solidFill>
                  <a:srgbClr val="44546A"/>
                </a:solidFill>
                <a:effectLst/>
                <a:uLnTx/>
                <a:uFillTx/>
                <a:latin typeface="Calibri Light" panose="020F0302020204030204"/>
                <a:ea typeface="+mn-ea"/>
                <a:cs typeface="Arial"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44546A"/>
              </a:solidFill>
              <a:effectLst/>
              <a:uLnTx/>
              <a:uFillTx/>
              <a:latin typeface="Calibri Light" panose="020F030202020403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CED: </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Bolele Disenyeng, Dineo Bogoshi, Lesego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Thipenyane</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Lizzy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Madiwani</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Mzikazi Dickmolo, Nomsa Tau,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Rembuluwani</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Netshikweta</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Sandrama Nadan, Shannon Williams,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Tersia</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Kruger, Tshegofatso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Ntshabele</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Tumiso Moketl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CHARM: </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Amanda Shilubane, Boitumelo Kgoale, Boniwe Makwakwa, Ernest Tsotetsi, Gloria Molaba, Gif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Sandhleni</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Mbali Dube, Mpho Thanjekwayo, Naseema Bulbulia, Nikiwe Power, Rosah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Mabokachaba</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Rotondwa</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Miriam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Mwamba</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Mudau, Rubeina Badat, Ruth Mogokotleng, Sabelle Jallow, Serisha Naicker,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Silondiwe</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Nzimande</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Tsidiso Maphang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CRDM: </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Dineo Mogale, Fahima Moosa, Happy Skosana, Kedibone Ndlangisa, Maimuna Carrim, Noluthando Duma, Rivionia Nero, Sibusisiwe Zulu, Thembi Mthemb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CEZPD: </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Angelina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Seko</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John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Ratabane</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Lisa Ming Sun,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Ntswaki</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Seolwanyane</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Shareen</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a:t>
            </a:r>
            <a:r>
              <a:rPr kumimoji="0" lang="en-US" sz="1000" b="0" i="0" u="none" strike="noStrike" kern="1200" cap="none" spc="0" normalizeH="0" baseline="0" noProof="0" dirty="0" err="1">
                <a:ln>
                  <a:noFill/>
                </a:ln>
                <a:solidFill>
                  <a:srgbClr val="44546A">
                    <a:lumMod val="75000"/>
                  </a:srgbClr>
                </a:solidFill>
                <a:effectLst/>
                <a:uLnTx/>
                <a:uFillTx/>
                <a:latin typeface="Calibri Light" panose="020F0302020204030204"/>
                <a:ea typeface="+mn-ea"/>
                <a:cs typeface="Arial" charset="0"/>
              </a:rPr>
              <a:t>Boughan</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 Thandokuhle Tshabalal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DPHSR:  </a:t>
            </a:r>
            <a:r>
              <a:rPr kumimoji="0" lang="en-US" sz="10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Arial" charset="0"/>
              </a:rPr>
              <a:t>Emily Sikanyika, Tsakane Nkuna, Yoliswa Qulu</a:t>
            </a:r>
            <a:endParaRPr kumimoji="0" lang="en-US" sz="1000" b="0" i="0" u="none" strike="noStrike" kern="1200" cap="none" spc="0" normalizeH="0" baseline="0" noProof="0" dirty="0">
              <a:ln>
                <a:noFill/>
              </a:ln>
              <a:solidFill>
                <a:srgbClr val="44546A">
                  <a:lumMod val="75000"/>
                </a:srgbClr>
              </a:solidFill>
              <a:effectLst/>
              <a:uLnTx/>
              <a:uFillTx/>
              <a:latin typeface="Calibri" panose="020F0502020204030204"/>
              <a:ea typeface="+mn-ea"/>
              <a:cs typeface="Arial" charset="0"/>
            </a:endParaRPr>
          </a:p>
        </p:txBody>
      </p:sp>
      <p:sp>
        <p:nvSpPr>
          <p:cNvPr id="14" name="Rectangle 13"/>
          <p:cNvSpPr>
            <a:spLocks noChangeArrowheads="1"/>
          </p:cNvSpPr>
          <p:nvPr/>
        </p:nvSpPr>
        <p:spPr bwMode="auto">
          <a:xfrm>
            <a:off x="3566104" y="3234737"/>
            <a:ext cx="7070227" cy="2400657"/>
          </a:xfrm>
          <a:prstGeom prst="rect">
            <a:avLst/>
          </a:prstGeom>
          <a:solidFill>
            <a:schemeClr val="accent5">
              <a:lumMod val="20000"/>
              <a:lumOff val="80000"/>
            </a:schemeClr>
          </a:solidFill>
          <a:ln w="25400" algn="ctr">
            <a:noFill/>
            <a:miter lim="800000"/>
            <a:headEnd/>
            <a:tailEnd/>
          </a:ln>
        </p:spPr>
        <p:txBody>
          <a:bodyPr wrap="square" bIns="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GERMS-SA: </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Loyiso Mnqokoyi, Vanessa Pearce (EC); Bonita van der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Westhuisen</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George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Papsig</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Kabelo Finger,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Monnya</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Motlhapi</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Thabo Mokoena (FS); Anwar Hoosen, Barry Bhagoobhai, Charl Verwey, David Moore, Dini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Mawela</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Gary Reubenson, Grace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Ntlemo</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Jeannette Wadula, Jeremy Nel, Lauren Richards, Lesego Mothibi, Maphoshane Nchabeleng, Masego Moncho,  Merika Tsitsi,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Moamokgethi</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Moshe, Mohammed Said, Molebogeng Kolojane, Nazir Ismail,  Nicolette du Plessis, Rispah Chomba, Sarah Stacey,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Sne</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Ndzandzaba</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Teena Thomas,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Theunis</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Avenant</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Trusha Nana, Vindana Chibabhai (GA); Douglas Wilson, Fathima Naby, Halima Dawood, Khine Swe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Swe</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Han, Lisha Sookan, Mbongiseni Dlamini,  Nomonde Dlamini, Praksha Ramjathan, Prasha Mahabeer, Prathna Bhola, Romola Naidoo, Sumayya Haffejee, Surendra Sirkar,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Venesh</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Rajkumar</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KZN); Ken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Hamese</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Phetho Mangena, Ruth Lekalakala, Virginia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Ntswane</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LP); Aretha Mokgoadi, Gugu Mncube, Isaac Mofokeng, Lerato Motjale, Mbongiseni Nkambule, Ndalamo Makatu, Thembi </a:t>
            </a:r>
            <a:r>
              <a:rPr kumimoji="0" lang="en-US" sz="900" b="0" i="0" u="none" strike="noStrike" kern="1200" cap="none" spc="0" normalizeH="0" baseline="0" noProof="0" dirty="0" err="1">
                <a:ln>
                  <a:noFill/>
                </a:ln>
                <a:solidFill>
                  <a:srgbClr val="000000"/>
                </a:solidFill>
                <a:effectLst/>
                <a:uLnTx/>
                <a:uFillTx/>
                <a:latin typeface="Calibri Light" panose="020F0302020204030204"/>
                <a:ea typeface="Arial Unicode MS" pitchFamily="34" charset="-128"/>
                <a:cs typeface="Arial Unicode MS" pitchFamily="34" charset="-128"/>
              </a:rPr>
              <a:t>Mbowane</a:t>
            </a:r>
            <a:r>
              <a:rPr kumimoji="0" lang="en-US" sz="900" b="0" i="0" u="none" strike="noStrike" kern="1200" cap="none" spc="0" normalizeH="0" baseline="0" noProof="0" dirty="0">
                <a:ln>
                  <a:noFill/>
                </a:ln>
                <a:solidFill>
                  <a:srgbClr val="000000"/>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a:ln>
                  <a:noFill/>
                </a:ln>
                <a:solidFill>
                  <a:srgbClr val="FF0000"/>
                </a:solidFill>
                <a:effectLst/>
                <a:uLnTx/>
                <a:uFillTx/>
                <a:latin typeface="Calibri Light" panose="020F0302020204030204"/>
                <a:ea typeface="Arial Unicode MS" pitchFamily="34" charset="-128"/>
                <a:cs typeface="Arial Unicode MS" pitchFamily="34" charset="-128"/>
              </a:rPr>
              <a:t>,</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Thulisile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Maphosa</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MP); Eugenie Elliott,  Pieter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Jooste</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NC); Ebrahim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Variava</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Ignatius Khantsi, Omphile Mekgoe (NW); Adrian Brink, Andrew Whitelaw, Angela Dramowski, Anthea Ryan,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Arifa</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Parker, Elizabeth Prentice, Heather Finlayson, James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Nuttal</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Jantjie</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Taljaard</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Kessendri Reddy, Sipho Dlamini (WC); Ebrahim Hoosien, Inge Zietsman, Terry Marshall, Xoliswa Poswa (AMPATH); Chetna Govind, Juanita Smit,  Keshree Pillay, Sharona Seetharam , Victoria Howell (LANCET); Catherine Samuel,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Marthinus</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Senekal, Colleen Bamford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PathCare</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Andries Dreyer, Louis Marcus, Warren Lowman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Vermaak</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and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Arial Unicode MS" pitchFamily="34" charset="-128"/>
                <a:cs typeface="Arial Unicode MS" pitchFamily="34" charset="-128"/>
              </a:rPr>
              <a:t>Vennote</a:t>
            </a:r>
            <a:r>
              <a:rPr kumimoji="0" lang="en-US" sz="900" b="0" i="0" u="none" strike="noStrike" kern="1200" cap="none" spc="0" normalizeH="0" baseline="0" noProof="0" dirty="0">
                <a:ln>
                  <a:noFill/>
                </a:ln>
                <a:solidFill>
                  <a:prstClr val="black"/>
                </a:solidFill>
                <a:effectLst/>
                <a:uLnTx/>
                <a:uFillTx/>
                <a:latin typeface="Calibri Light" panose="020F0302020204030204"/>
                <a:ea typeface="Arial Unicode MS" pitchFamily="34" charset="-128"/>
                <a:cs typeface="Arial Unicode MS" pitchFamily="34" charset="-128"/>
              </a:rPr>
              <a:t>); Adrian Puren,  Anne von Gottberg, Anthony Smith, Azwifarwi Mathunjwa, Bhavani Moodley, Caroline Maluleka, Cecilia Miller, Charlotte Sriruttan-Nel,  Cheryl Cohen, Jacqueline Weyer, Jackie Kleynhans, Jenny Rossouw, John Frean, Kate Bishop, Kerrigan McCarthy, Liliwe Shuping, Linda de Gouveia, Linda Erasmus, Lucille Blumberg, Marshagne Smith, Martha Makgoba, Mignon du Plessis, Mimmy Ngomane, Mokupi Manaka, Nelesh Govender, Neo Legare, Nicola Page, Nishi Prabdial-Sing, Nombulelo Hoho, Olga Perovic, Phuti Sekwadi, Rudzani Mashau, Ruth Mpembe, Ruth Mogokotleng, Sabelle Jallow, Sibongile Walaza, Sunnieboy Njikho, Susan Meiring, Susan Nzenze, Tiisetso Lebaka, Tuelo Matotong, Vanessa Quan, Veerle Msimang, Wendy  Ngubane (NICD).</a:t>
            </a:r>
          </a:p>
        </p:txBody>
      </p:sp>
      <p:pic>
        <p:nvPicPr>
          <p:cNvPr id="12297" name="Picture 12" descr="NICD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13600" y="32415"/>
            <a:ext cx="1623174" cy="563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9" name="Picture 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6516" y="25817"/>
            <a:ext cx="1561368" cy="56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
          <p:cNvSpPr txBox="1">
            <a:spLocks noChangeArrowheads="1"/>
          </p:cNvSpPr>
          <p:nvPr/>
        </p:nvSpPr>
        <p:spPr bwMode="auto">
          <a:xfrm>
            <a:off x="3549097" y="5650020"/>
            <a:ext cx="7110301" cy="1215717"/>
          </a:xfrm>
          <a:prstGeom prst="rect">
            <a:avLst/>
          </a:prstGeom>
          <a:solidFill>
            <a:schemeClr val="accent6">
              <a:lumMod val="20000"/>
              <a:lumOff val="80000"/>
            </a:schemeClr>
          </a:solidFill>
          <a:ln w="25400" algn="ctr">
            <a:noFill/>
            <a:miter lim="800000"/>
            <a:headEnd/>
            <a:tailEnd/>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Provincial surveillance teams: </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Badikazi Matiwana, Sandisiwe Joyi (EC);  Khasiane Mawasha, Thandeka Kosana (FS); Chulumanco Nkosi, Deborah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Makobe</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Dikeledi Leshaba, John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Mothlas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Kamohelo Van Eck, Molly Morapeli, Nthabiseng Motati, Ntombizanele Nkomo, Ophtia Kaoho, Patience Ngube,  Phindile Ngema, Phumelelo Mavundla, Rachel Nare,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Venesa</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Kok, Vusi Ndlovu, Zodwa Kgaphola (GA); Indran Naidoo, Nelisiwe Buthelezi, Nhlakanipho Malinga,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Nkoshinath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Mbhele, Nondumiso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Amahle</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Khoza, Nothando Mthembu, Thobeka Simelane Shandu (KZN); Tebogo Mangena (LP); Elizabeth Motaung,  Gift Mnisi, Kgashane Rapaledi, Lesley Ingle, Ndugiselo Muravha, Sam Chongo, Tumelo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Thlomelang</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Zanele Sewele, Godfrey Ndlovu (MP); Bernard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Motsestse</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Kholiwe Mgidlana, Koketso Manaka,  Sebongile Quariva,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Seiphati</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Matshogo, Tshwanelo Mahloko, Yvette Nero (NW); Babalwa Magawu, Charlene Isaacs, Cheryl Mentor, Kholofelo Lebelo, Lerato Qoza, Msimelelo Madlingozi , Nazila Shalabi, Phathiswa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Rangyana</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Portia Maphumulo,  Priscilla Mouton,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Sinesipho</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Makaluza</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Yonela Zokufa, Zama Mfundisi (WC)</a:t>
            </a:r>
          </a:p>
        </p:txBody>
      </p:sp>
      <p:sp>
        <p:nvSpPr>
          <p:cNvPr id="2" name="TextBox 1"/>
          <p:cNvSpPr txBox="1"/>
          <p:nvPr/>
        </p:nvSpPr>
        <p:spPr>
          <a:xfrm>
            <a:off x="3713600" y="2908605"/>
            <a:ext cx="679727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NICD GERMS-SA Surveillance Review, 16-17 July 2019</a:t>
            </a:r>
          </a:p>
        </p:txBody>
      </p:sp>
    </p:spTree>
    <p:extLst>
      <p:ext uri="{BB962C8B-B14F-4D97-AF65-F5344CB8AC3E}">
        <p14:creationId xmlns:p14="http://schemas.microsoft.com/office/powerpoint/2010/main" val="1079726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9"/>
          <p:cNvSpPr>
            <a:spLocks noGrp="1" noChangeArrowheads="1"/>
          </p:cNvSpPr>
          <p:nvPr>
            <p:ph type="title"/>
          </p:nvPr>
        </p:nvSpPr>
        <p:spPr>
          <a:xfrm>
            <a:off x="2593732" y="114301"/>
            <a:ext cx="7209692" cy="568007"/>
          </a:xfrm>
        </p:spPr>
        <p:txBody>
          <a:bodyPr>
            <a:normAutofit fontScale="90000"/>
          </a:bodyPr>
          <a:lstStyle/>
          <a:p>
            <a:pPr algn="ctr"/>
            <a:r>
              <a:rPr lang="en-GB" sz="2400" b="1" dirty="0"/>
              <a:t>Influenza-like illness and national syndromic surveillance for pneumonia, South Africa, 2022</a:t>
            </a:r>
            <a:endParaRPr lang="en-US" sz="4000" b="1" dirty="0"/>
          </a:p>
        </p:txBody>
      </p:sp>
      <p:sp>
        <p:nvSpPr>
          <p:cNvPr id="37891" name="Rectangle 11"/>
          <p:cNvSpPr>
            <a:spLocks noGrp="1" noChangeArrowheads="1"/>
          </p:cNvSpPr>
          <p:nvPr>
            <p:ph type="body" sz="half" idx="3"/>
          </p:nvPr>
        </p:nvSpPr>
        <p:spPr>
          <a:xfrm>
            <a:off x="2191815" y="3754082"/>
            <a:ext cx="7699531" cy="2961601"/>
          </a:xfrm>
        </p:spPr>
        <p:txBody>
          <a:bodyPr vert="horz" lIns="0" tIns="0" rIns="0" bIns="0" rtlCol="0">
            <a:normAutofit fontScale="92500" lnSpcReduction="20000"/>
          </a:bodyPr>
          <a:lstStyle/>
          <a:p>
            <a:pPr>
              <a:buFontTx/>
              <a:buNone/>
            </a:pPr>
            <a:r>
              <a:rPr lang="en-GB" sz="1200" b="1" dirty="0"/>
              <a:t>Centre for Respiratory Diseases and Meningitis: </a:t>
            </a:r>
          </a:p>
          <a:p>
            <a:pPr marL="57150" indent="0">
              <a:buNone/>
            </a:pPr>
            <a:r>
              <a:rPr lang="en-GB" sz="1200" dirty="0"/>
              <a:t>Alexandra Moerdyk, Amelia Buys, Anne von Gottberg, Azwifarwi Mathunjwa, Cardia Fourie, Cayla Reddy, Cheryl Cohen, Daniel Amoako, Emmanuel Phalane, Fahima Moosa, Fiada Mothapo, Hanif Carrim, Jackie Kleynhans, Jinal Bhiman, Jocelyn Moyes, Josie Everatt; Kedibone Ndlangisa, Maimuna Carrim, Mignon du Plessis, Mpilo Mabuza, Mzimasi Neti, Mvuyo Makhasi, Nicola Chiwandire, Nicole Wolter, Noluthando Duma, Linda De Gouveia, Phiwokuhle Ntombela, </a:t>
            </a:r>
            <a:r>
              <a:rPr lang="en-GB" sz="1200" dirty="0" err="1"/>
              <a:t>Retshiditswe</a:t>
            </a:r>
            <a:r>
              <a:rPr lang="en-GB" sz="1200" dirty="0"/>
              <a:t> Kotane, Sibongile Walaza, Sibusisiwe Zulu, Siyabonga Mazibuko, Stefano Tempia, Theresa Mashaba, Thulisa Mkhencele, Thulisile Nkabinde, Wesley Dlamini</a:t>
            </a:r>
          </a:p>
          <a:p>
            <a:pPr>
              <a:buNone/>
            </a:pPr>
            <a:r>
              <a:rPr lang="en-GB" sz="1200" b="1" dirty="0"/>
              <a:t>Edendale Hospital: </a:t>
            </a:r>
            <a:r>
              <a:rPr lang="en-GB" sz="1200" dirty="0"/>
              <a:t>Halima Dawood, Fathima Naby, Sumayya Haffejee</a:t>
            </a:r>
          </a:p>
          <a:p>
            <a:pPr eaLnBrk="1" hangingPunct="1">
              <a:spcBef>
                <a:spcPct val="30000"/>
              </a:spcBef>
              <a:buFontTx/>
              <a:buNone/>
            </a:pPr>
            <a:r>
              <a:rPr lang="en-GB" sz="1200" b="1" dirty="0"/>
              <a:t>Klerksdorp/Tshepong Hospital Complex:</a:t>
            </a:r>
            <a:r>
              <a:rPr lang="en-GB" sz="1200" dirty="0"/>
              <a:t> Khumo Bardman, Omphile Mekgoe, Ebrahim Variava</a:t>
            </a:r>
          </a:p>
          <a:p>
            <a:pPr marL="57150" indent="-57150">
              <a:spcBef>
                <a:spcPct val="30000"/>
              </a:spcBef>
              <a:buNone/>
            </a:pPr>
            <a:r>
              <a:rPr lang="en-GB" sz="1200" b="1" dirty="0"/>
              <a:t>Rahima Moosa Mother and Child and Helen Joseph Hospitals : </a:t>
            </a:r>
            <a:r>
              <a:rPr lang="en-GB" sz="1200" dirty="0"/>
              <a:t>Ashraf Coovadia, David Spencer, Gary Reubenson , Jeremy Nel, Zodwa Kgapola</a:t>
            </a:r>
          </a:p>
          <a:p>
            <a:pPr>
              <a:spcBef>
                <a:spcPct val="30000"/>
              </a:spcBef>
              <a:buNone/>
            </a:pPr>
            <a:r>
              <a:rPr lang="en-GB" sz="1200" b="1" dirty="0"/>
              <a:t>Red Cross Hospital/ Mitchell’s Plain District Hospital/ Eastridge Clinic/ Mitchell’s Plain CHC</a:t>
            </a:r>
            <a:r>
              <a:rPr lang="en-GB" sz="1200" dirty="0"/>
              <a:t>: Heather  Zar</a:t>
            </a:r>
          </a:p>
          <a:p>
            <a:pPr>
              <a:spcBef>
                <a:spcPct val="30000"/>
              </a:spcBef>
              <a:buNone/>
            </a:pPr>
            <a:r>
              <a:rPr lang="en-GB" sz="1200" b="1" dirty="0" err="1"/>
              <a:t>Tygerberg</a:t>
            </a:r>
            <a:r>
              <a:rPr lang="en-GB" sz="1200" b="1" dirty="0"/>
              <a:t> Hospital: </a:t>
            </a:r>
            <a:r>
              <a:rPr lang="en-GB" sz="1200" dirty="0" err="1"/>
              <a:t>Arifa</a:t>
            </a:r>
            <a:r>
              <a:rPr lang="en-GB" sz="1200" dirty="0"/>
              <a:t> Parker</a:t>
            </a:r>
          </a:p>
          <a:p>
            <a:pPr>
              <a:spcBef>
                <a:spcPct val="30000"/>
              </a:spcBef>
              <a:buNone/>
            </a:pPr>
            <a:r>
              <a:rPr lang="en-GB" sz="1200" b="1" dirty="0"/>
              <a:t>Tembisa Hospital: </a:t>
            </a:r>
            <a:r>
              <a:rPr lang="en-GB" sz="1200" dirty="0"/>
              <a:t>John Mathabathe</a:t>
            </a:r>
          </a:p>
          <a:p>
            <a:pPr>
              <a:spcBef>
                <a:spcPct val="30000"/>
              </a:spcBef>
              <a:buNone/>
            </a:pPr>
            <a:r>
              <a:rPr lang="en-GB" sz="1200" b="1" dirty="0"/>
              <a:t>Livingstone Hospital</a:t>
            </a:r>
            <a:r>
              <a:rPr lang="en-GB" sz="1200" dirty="0"/>
              <a:t>: John Black</a:t>
            </a:r>
          </a:p>
          <a:p>
            <a:pPr>
              <a:spcBef>
                <a:spcPct val="30000"/>
              </a:spcBef>
              <a:buNone/>
            </a:pPr>
            <a:r>
              <a:rPr lang="en-GB" sz="1200" b="1" dirty="0"/>
              <a:t>Mpumalanga/Matikwana</a:t>
            </a:r>
            <a:r>
              <a:rPr lang="en-GB" sz="1200" dirty="0"/>
              <a:t>: Neydis Baute, Godfery Sewele</a:t>
            </a:r>
          </a:p>
          <a:p>
            <a:pPr marL="0" indent="0">
              <a:spcBef>
                <a:spcPct val="40000"/>
              </a:spcBef>
              <a:buNone/>
            </a:pPr>
            <a:r>
              <a:rPr lang="en-GB" sz="1200" b="1" dirty="0"/>
              <a:t>MRC/Wits Rural Public Health and Health Transitions Research Unit (Agincourt): </a:t>
            </a:r>
            <a:r>
              <a:rPr lang="en-GB" sz="1200" dirty="0"/>
              <a:t>Kathleen Kahn, Rhian Twine , Stephen Tollman   </a:t>
            </a:r>
          </a:p>
          <a:p>
            <a:pPr>
              <a:spcBef>
                <a:spcPct val="30000"/>
              </a:spcBef>
              <a:buNone/>
            </a:pPr>
            <a:r>
              <a:rPr lang="en-GB" sz="1200" b="1" dirty="0"/>
              <a:t>Centre for Disease Control and Prevention (CDC): </a:t>
            </a:r>
            <a:r>
              <a:rPr lang="en-GB" sz="1200" dirty="0"/>
              <a:t>Aaron Samuels</a:t>
            </a:r>
          </a:p>
          <a:p>
            <a:pPr>
              <a:spcBef>
                <a:spcPct val="30000"/>
              </a:spcBef>
              <a:buNone/>
            </a:pPr>
            <a:r>
              <a:rPr lang="en-GB" sz="1200" b="1" dirty="0"/>
              <a:t>GERMS-SA: </a:t>
            </a:r>
            <a:r>
              <a:rPr lang="en-GB" sz="1200" dirty="0"/>
              <a:t>Mokupi Manaka</a:t>
            </a:r>
            <a:r>
              <a:rPr lang="en-GB" sz="1200" b="1" dirty="0"/>
              <a:t>, </a:t>
            </a:r>
            <a:r>
              <a:rPr lang="en-GB" sz="1200" dirty="0"/>
              <a:t>Susan Meiring, Vanessa Quan, Kate Bishop</a:t>
            </a:r>
          </a:p>
        </p:txBody>
      </p:sp>
      <p:sp>
        <p:nvSpPr>
          <p:cNvPr id="37892" name="Text Box 19"/>
          <p:cNvSpPr txBox="1">
            <a:spLocks noChangeArrowheads="1"/>
          </p:cNvSpPr>
          <p:nvPr/>
        </p:nvSpPr>
        <p:spPr bwMode="auto">
          <a:xfrm>
            <a:off x="9923585" y="0"/>
            <a:ext cx="2268415" cy="7117333"/>
          </a:xfrm>
          <a:prstGeom prst="rect">
            <a:avLst/>
          </a:prstGeom>
          <a:solidFill>
            <a:schemeClr val="accent5">
              <a:lumMod val="75000"/>
              <a:alpha val="81960"/>
            </a:schemeClr>
          </a:solidFill>
          <a:ln w="9525">
            <a:solidFill>
              <a:schemeClr val="bg1"/>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Surveillance Officers &amp;  Research Assistants</a:t>
            </a: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abalwa Magaw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Bernard Motset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Cecilia Miller</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Charlene Isaa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Cheryl Men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Chulumanco Nkos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Elizabeth Motau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Gift </a:t>
            </a:r>
            <a:r>
              <a:rPr kumimoji="0" lang="en-ZA" sz="1050" b="0" i="0" u="none" strike="noStrike" kern="1200" cap="none" spc="0" normalizeH="0" baseline="0" noProof="0" dirty="0" err="1">
                <a:ln>
                  <a:noFill/>
                </a:ln>
                <a:solidFill>
                  <a:prstClr val="white"/>
                </a:solidFill>
                <a:effectLst/>
                <a:uLnTx/>
                <a:uFillTx/>
                <a:latin typeface="Calibri" panose="020F0502020204030204"/>
                <a:ea typeface="+mn-ea"/>
                <a:cs typeface="+mn-cs"/>
              </a:rPr>
              <a:t>Mnisi</a:t>
            </a: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 </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Godfrey Mabund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Innocent Kweyama </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Kate Bish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Koketso Manak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Kholiwe</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Mgidlan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Lerato Qoz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Lucia Nondyebo Madol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Milliah </a:t>
            </a:r>
            <a:r>
              <a:rPr kumimoji="0" lang="en-ZA" sz="1050" b="0" i="0" u="none" strike="noStrike" kern="1200" cap="none" spc="0" normalizeH="0" baseline="0" noProof="0" dirty="0" err="1">
                <a:ln>
                  <a:noFill/>
                </a:ln>
                <a:solidFill>
                  <a:prstClr val="white"/>
                </a:solidFill>
                <a:effectLst/>
                <a:uLnTx/>
                <a:uFillTx/>
                <a:latin typeface="Calibri" panose="020F0502020204030204"/>
                <a:ea typeface="+mn-ea"/>
                <a:cs typeface="+mn-cs"/>
              </a:rPr>
              <a:t>Hlathi</a:t>
            </a: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 </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Moroesi</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Mosepele</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Myrah Morem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Ndugiselo</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Muravh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Nhlakanipho</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Maling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luthando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Gamk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mbulelo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Sithebe</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mvuyiso Yak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Nonceba</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Hilda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Ngubo</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ndumiso Khoz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sisa Simang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Nothando</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Mthemb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Patience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Ngube</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Phindile Nge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Palesa </a:t>
            </a:r>
            <a:r>
              <a:rPr kumimoji="0" lang="en-ZA" sz="1050" b="0" i="0" u="none" strike="noStrike" kern="1200" cap="none" spc="0" normalizeH="0" baseline="0" noProof="0" dirty="0" err="1">
                <a:ln>
                  <a:noFill/>
                </a:ln>
                <a:solidFill>
                  <a:prstClr val="white"/>
                </a:solidFill>
                <a:effectLst/>
                <a:uLnTx/>
                <a:uFillTx/>
                <a:latin typeface="Calibri" panose="020F0502020204030204"/>
                <a:ea typeface="+mn-ea"/>
                <a:cs typeface="+mn-cs"/>
              </a:rPr>
              <a:t>Seutloali</a:t>
            </a:r>
            <a:endPar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Phathiswa Ranyan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Phumelelo</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Mavundla</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Priscilla Mout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Seipati Matsh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Sunnieboy Njikho</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50" b="0" i="0" u="none" strike="noStrike" kern="1200" cap="none" spc="0" normalizeH="0" baseline="0" noProof="0" dirty="0" err="1">
                <a:ln>
                  <a:noFill/>
                </a:ln>
                <a:solidFill>
                  <a:prstClr val="white"/>
                </a:solidFill>
                <a:effectLst/>
                <a:uLnTx/>
                <a:uFillTx/>
                <a:latin typeface="Calibri" panose="020F0502020204030204"/>
                <a:ea typeface="+mn-ea"/>
                <a:cs typeface="+mn-cs"/>
              </a:rPr>
              <a:t>Tuelo</a:t>
            </a:r>
            <a:r>
              <a:rPr kumimoji="0" lang="en-ZA" sz="1050" b="0" i="0" u="none" strike="noStrike" kern="1200" cap="none" spc="0" normalizeH="0" baseline="0" noProof="0" dirty="0">
                <a:ln>
                  <a:noFill/>
                </a:ln>
                <a:solidFill>
                  <a:prstClr val="white"/>
                </a:solidFill>
                <a:effectLst/>
                <a:uLnTx/>
                <a:uFillTx/>
                <a:latin typeface="Calibri" panose="020F0502020204030204"/>
                <a:ea typeface="+mn-ea"/>
                <a:cs typeface="+mn-cs"/>
              </a:rPr>
              <a:t> Matotong</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Tshwanelo</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Mahloko</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Vanesa Ko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Wendy Ngub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Zanele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Sewele</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Zukiswa</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050" b="0" i="0" u="none" strike="noStrike" kern="1200" cap="none" spc="0" normalizeH="0" baseline="0" noProof="0" dirty="0" err="1">
                <a:ln>
                  <a:noFill/>
                </a:ln>
                <a:solidFill>
                  <a:prstClr val="white"/>
                </a:solidFill>
                <a:effectLst/>
                <a:uLnTx/>
                <a:uFillTx/>
                <a:latin typeface="Calibri" panose="020F0502020204030204"/>
                <a:ea typeface="+mn-ea"/>
                <a:cs typeface="+mn-cs"/>
              </a:rPr>
              <a:t>Kibi</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893" name="Text Box 22"/>
          <p:cNvSpPr txBox="1">
            <a:spLocks noChangeArrowheads="1"/>
          </p:cNvSpPr>
          <p:nvPr/>
        </p:nvSpPr>
        <p:spPr bwMode="auto">
          <a:xfrm>
            <a:off x="48168" y="5505879"/>
            <a:ext cx="1961120" cy="577081"/>
          </a:xfrm>
          <a:prstGeom prst="rect">
            <a:avLst/>
          </a:prstGeom>
          <a:solidFill>
            <a:schemeClr val="accent5">
              <a:lumMod val="75000"/>
              <a:alpha val="81960"/>
            </a:schemeClr>
          </a:solidFill>
          <a:ln w="9525">
            <a:solidFill>
              <a:schemeClr val="bg1"/>
            </a:solid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Calibri" panose="020F0502020204030204"/>
                <a:ea typeface="+mn-ea"/>
                <a:cs typeface="+mn-cs"/>
              </a:rPr>
              <a:t>All the patients  who kindly agreed to participate in the surveillance</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895" name="Text Box 22"/>
          <p:cNvSpPr txBox="1">
            <a:spLocks noChangeArrowheads="1"/>
          </p:cNvSpPr>
          <p:nvPr/>
        </p:nvSpPr>
        <p:spPr bwMode="auto">
          <a:xfrm>
            <a:off x="48168" y="1545407"/>
            <a:ext cx="1856119" cy="1883593"/>
          </a:xfrm>
          <a:prstGeom prst="rect">
            <a:avLst/>
          </a:prstGeom>
          <a:solidFill>
            <a:schemeClr val="accent5">
              <a:lumMod val="75000"/>
              <a:alpha val="81960"/>
            </a:schemeClr>
          </a:solidFill>
          <a:ln w="9525">
            <a:solidFill>
              <a:schemeClr val="bg1"/>
            </a:solid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1" i="0" u="none" strike="noStrike" kern="1200" cap="none" spc="0" normalizeH="0" baseline="0" noProof="0" dirty="0">
                <a:ln>
                  <a:noFill/>
                </a:ln>
                <a:solidFill>
                  <a:prstClr val="white"/>
                </a:solidFill>
                <a:effectLst/>
                <a:uLnTx/>
                <a:uFillTx/>
                <a:latin typeface="Calibri" panose="020F0502020204030204"/>
                <a:ea typeface="+mn-ea"/>
                <a:cs typeface="+mn-cs"/>
              </a:rPr>
              <a:t>Data Entry Team and Administrato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7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rPr>
              <a:t>Boitumelo Chue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rPr>
              <a:t>Faakhiera Stellenbo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rPr>
              <a:t>Robert Museth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rPr>
              <a:t>Shirley Mhlarh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70" b="0" i="0" u="none" strike="noStrike" kern="1200" cap="none" spc="0" normalizeH="0" baseline="0" noProof="0" dirty="0">
                <a:ln>
                  <a:noFill/>
                </a:ln>
                <a:solidFill>
                  <a:prstClr val="white"/>
                </a:solidFill>
                <a:effectLst/>
                <a:uLnTx/>
                <a:uFillTx/>
                <a:latin typeface="Calibri" panose="020F0502020204030204"/>
                <a:ea typeface="+mn-ea"/>
                <a:cs typeface="+mn-cs"/>
              </a:rPr>
              <a:t>Judith Tshabala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70" b="0" i="0" u="none" strike="noStrike" kern="1200" cap="none" spc="0" normalizeH="0" baseline="0" noProof="0" dirty="0">
                <a:ln>
                  <a:noFill/>
                </a:ln>
                <a:solidFill>
                  <a:prstClr val="white"/>
                </a:solidFill>
                <a:effectLst/>
                <a:uLnTx/>
                <a:uFillTx/>
                <a:latin typeface="Calibri" panose="020F0502020204030204"/>
                <a:ea typeface="+mn-ea"/>
                <a:cs typeface="+mn-cs"/>
              </a:rPr>
              <a:t>Thembi Mthembu</a:t>
            </a:r>
            <a:endPar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rPr>
              <a:t>Nondumiso Makab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rPr>
              <a:t>Mpho Ntoy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70" b="0" i="0" u="none" strike="noStrike" kern="1200" cap="none" spc="0" normalizeH="0" baseline="0" noProof="0" dirty="0">
                <a:ln>
                  <a:noFill/>
                </a:ln>
                <a:solidFill>
                  <a:prstClr val="white"/>
                </a:solidFill>
                <a:effectLst/>
                <a:uLnTx/>
                <a:uFillTx/>
                <a:latin typeface="Calibri" panose="020F0502020204030204"/>
                <a:ea typeface="+mn-ea"/>
                <a:cs typeface="+mn-cs"/>
              </a:rPr>
              <a:t>Thelma Maswanganyi</a:t>
            </a:r>
            <a:endParaRPr kumimoji="0" lang="en-US" sz="97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Picture 12" descr="NICD Logo"/>
          <p:cNvPicPr>
            <a:picLocks noChangeAspect="1" noChangeArrowheads="1"/>
          </p:cNvPicPr>
          <p:nvPr/>
        </p:nvPicPr>
        <p:blipFill>
          <a:blip r:embed="rId3" cstate="print"/>
          <a:srcRect/>
          <a:stretch>
            <a:fillRect/>
          </a:stretch>
        </p:blipFill>
        <p:spPr bwMode="auto">
          <a:xfrm>
            <a:off x="0" y="0"/>
            <a:ext cx="2370302" cy="823352"/>
          </a:xfrm>
          <a:prstGeom prst="rect">
            <a:avLst/>
          </a:prstGeom>
          <a:noFill/>
        </p:spPr>
      </p:pic>
      <p:pic>
        <p:nvPicPr>
          <p:cNvPr id="3" name="Content Placeholder 2"/>
          <p:cNvPicPr>
            <a:picLocks noGrp="1" noChangeAspect="1"/>
          </p:cNvPicPr>
          <p:nvPr>
            <p:ph sz="quarter" idx="1"/>
          </p:nvPr>
        </p:nvPicPr>
        <p:blipFill rotWithShape="1">
          <a:blip r:embed="rId4" cstate="print">
            <a:extLst>
              <a:ext uri="{28A0092B-C50C-407E-A947-70E740481C1C}">
                <a14:useLocalDpi xmlns:a14="http://schemas.microsoft.com/office/drawing/2010/main" val="0"/>
              </a:ext>
            </a:extLst>
          </a:blip>
          <a:srcRect t="18361" b="17778"/>
          <a:stretch/>
        </p:blipFill>
        <p:spPr>
          <a:xfrm>
            <a:off x="2692348" y="732144"/>
            <a:ext cx="6979190" cy="2972102"/>
          </a:xfrm>
        </p:spPr>
      </p:pic>
    </p:spTree>
    <p:extLst>
      <p:ext uri="{BB962C8B-B14F-4D97-AF65-F5344CB8AC3E}">
        <p14:creationId xmlns:p14="http://schemas.microsoft.com/office/powerpoint/2010/main" val="20262957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889" y="53732"/>
            <a:ext cx="3673949" cy="581098"/>
          </a:xfrm>
        </p:spPr>
        <p:txBody>
          <a:bodyPr>
            <a:normAutofit/>
          </a:bodyPr>
          <a:lstStyle/>
          <a:p>
            <a:r>
              <a:rPr lang="en-US" sz="3200" dirty="0">
                <a:latin typeface="+mn-lt"/>
                <a:cs typeface="Calibri Light" panose="020F0302020204030204" pitchFamily="34" charset="0"/>
              </a:rPr>
              <a:t>Acknowledgements</a:t>
            </a:r>
            <a:endParaRPr lang="en-GB" sz="3200" dirty="0">
              <a:latin typeface="+mn-lt"/>
              <a:cs typeface="Calibri Light" panose="020F0302020204030204"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094" y="3702735"/>
            <a:ext cx="2017643" cy="1546147"/>
          </a:xfrm>
          <a:prstGeom prst="rect">
            <a:avLst/>
          </a:prstGeom>
        </p:spPr>
      </p:pic>
      <p:pic>
        <p:nvPicPr>
          <p:cNvPr id="7" name="Picture 6"/>
          <p:cNvPicPr>
            <a:picLocks noChangeAspect="1"/>
          </p:cNvPicPr>
          <p:nvPr/>
        </p:nvPicPr>
        <p:blipFill>
          <a:blip r:embed="rId4"/>
          <a:stretch>
            <a:fillRect/>
          </a:stretch>
        </p:blipFill>
        <p:spPr>
          <a:xfrm>
            <a:off x="6367870" y="3847651"/>
            <a:ext cx="2620358" cy="1746905"/>
          </a:xfrm>
          <a:prstGeom prst="rect">
            <a:avLst/>
          </a:prstGeom>
        </p:spPr>
      </p:pic>
      <p:sp>
        <p:nvSpPr>
          <p:cNvPr id="5" name="Rectangle 4"/>
          <p:cNvSpPr/>
          <p:nvPr/>
        </p:nvSpPr>
        <p:spPr>
          <a:xfrm>
            <a:off x="168274" y="5574813"/>
            <a:ext cx="7573144" cy="1511311"/>
          </a:xfrm>
          <a:prstGeom prst="rect">
            <a:avLst/>
          </a:prstGeom>
        </p:spPr>
        <p:txBody>
          <a:bodyPr wrap="square">
            <a:spAutoFit/>
          </a:bodyPr>
          <a:lstStyle/>
          <a:p>
            <a:pPr marL="0" marR="0" lvl="0" indent="0" algn="l" defTabSz="914400" rtl="0" eaLnBrk="1" fontAlgn="auto" latinLnBrk="0" hangingPunct="1">
              <a:lnSpc>
                <a:spcPct val="119000"/>
              </a:lnSpc>
              <a:spcBef>
                <a:spcPts val="0"/>
              </a:spcBef>
              <a:spcAft>
                <a:spcPts val="600"/>
              </a:spcAft>
              <a:buClrTx/>
              <a:buSzTx/>
              <a:buFontTx/>
              <a:buNone/>
              <a:tabLst/>
              <a:defRPr/>
            </a:pPr>
            <a:r>
              <a:rPr kumimoji="0" lang="en-US" sz="1400" b="0" i="0" u="none" strike="noStrike" kern="1400" cap="none" spc="0" normalizeH="0" baseline="0" noProof="0" dirty="0">
                <a:ln>
                  <a:noFill/>
                </a:ln>
                <a:solidFill>
                  <a:prstClr val="black"/>
                </a:solidFill>
                <a:effectLst/>
                <a:uLnTx/>
                <a:uFillTx/>
                <a:latin typeface="Calibri Light" panose="020F0302020204030204"/>
                <a:ea typeface="+mn-ea"/>
                <a:cs typeface="+mn-cs"/>
              </a:rPr>
              <a:t>This work was supported in part by a Fogarty International Center Global Infectious Disease research training grant, National Institutes of Health, to the University of Pittsburgh and National Institute for Communicable Diseases (D43TW011255)</a:t>
            </a:r>
          </a:p>
          <a:p>
            <a:pPr marL="0" marR="0" lvl="0" indent="0" algn="l" defTabSz="914400" rtl="0" eaLnBrk="1" fontAlgn="auto" latinLnBrk="0" hangingPunct="1">
              <a:lnSpc>
                <a:spcPct val="119000"/>
              </a:lnSpc>
              <a:spcBef>
                <a:spcPts val="0"/>
              </a:spcBef>
              <a:spcAft>
                <a:spcPts val="600"/>
              </a:spcAft>
              <a:buClrTx/>
              <a:buSzTx/>
              <a:buFontTx/>
              <a:buNone/>
              <a:tabLst/>
              <a:defRPr/>
            </a:pPr>
            <a:r>
              <a:rPr kumimoji="0" lang="en-US" sz="1400" b="0" i="0" u="none" strike="noStrike" kern="1400" cap="none" spc="0" normalizeH="0" baseline="0" noProof="0" dirty="0">
                <a:ln>
                  <a:noFill/>
                </a:ln>
                <a:solidFill>
                  <a:prstClr val="black"/>
                </a:solidFill>
                <a:effectLst/>
                <a:uLnTx/>
                <a:uFillTx/>
                <a:latin typeface="Calibri Light" panose="020F0302020204030204"/>
                <a:ea typeface="+mn-ea"/>
                <a:cs typeface="+mn-cs"/>
                <a:hlinkClick r:id="rId5"/>
              </a:rPr>
              <a:t>https://crdm.nicd.ac.za/projects/sapphgene/</a:t>
            </a:r>
            <a:endParaRPr kumimoji="0" lang="en-US" sz="1400" b="0" i="0" u="none" strike="noStrike" kern="1400" cap="none" spc="0" normalizeH="0" baseline="0" noProof="0" dirty="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19000"/>
              </a:lnSpc>
              <a:spcBef>
                <a:spcPts val="0"/>
              </a:spcBef>
              <a:spcAft>
                <a:spcPts val="600"/>
              </a:spcAft>
              <a:buClrTx/>
              <a:buSzTx/>
              <a:buFontTx/>
              <a:buNone/>
              <a:tabLst/>
              <a:defRPr/>
            </a:pPr>
            <a:endParaRPr kumimoji="0" lang="en-US" sz="1400" b="0" i="0" u="none" strike="noStrike" kern="1400" cap="none" spc="0" normalizeH="0" baseline="0" noProof="0" dirty="0">
              <a:ln>
                <a:noFill/>
              </a:ln>
              <a:solidFill>
                <a:prstClr val="black"/>
              </a:solidFill>
              <a:effectLst/>
              <a:uLnTx/>
              <a:uFillTx/>
              <a:latin typeface="Calibri Light" panose="020F0302020204030204"/>
              <a:ea typeface="+mn-ea"/>
              <a:cs typeface="+mn-cs"/>
            </a:endParaRPr>
          </a:p>
        </p:txBody>
      </p:sp>
      <p:pic>
        <p:nvPicPr>
          <p:cNvPr id="9" name="Picture 8"/>
          <p:cNvPicPr>
            <a:picLocks noChangeAspect="1"/>
          </p:cNvPicPr>
          <p:nvPr/>
        </p:nvPicPr>
        <p:blipFill>
          <a:blip r:embed="rId6"/>
          <a:stretch>
            <a:fillRect/>
          </a:stretch>
        </p:blipFill>
        <p:spPr>
          <a:xfrm>
            <a:off x="4401919" y="2233654"/>
            <a:ext cx="3279026" cy="908585"/>
          </a:xfrm>
          <a:prstGeom prst="rect">
            <a:avLst/>
          </a:prstGeom>
        </p:spPr>
      </p:pic>
      <p:pic>
        <p:nvPicPr>
          <p:cNvPr id="11" name="Picture 10"/>
          <p:cNvPicPr>
            <a:picLocks noChangeAspect="1"/>
          </p:cNvPicPr>
          <p:nvPr/>
        </p:nvPicPr>
        <p:blipFill>
          <a:blip r:embed="rId7"/>
          <a:stretch>
            <a:fillRect/>
          </a:stretch>
        </p:blipFill>
        <p:spPr>
          <a:xfrm>
            <a:off x="4401919" y="3238740"/>
            <a:ext cx="3279026" cy="413460"/>
          </a:xfrm>
          <a:prstGeom prst="rect">
            <a:avLst/>
          </a:prstGeom>
        </p:spPr>
      </p:pic>
      <p:pic>
        <p:nvPicPr>
          <p:cNvPr id="13" name="Picture 12">
            <a:extLst>
              <a:ext uri="{FF2B5EF4-FFF2-40B4-BE49-F238E27FC236}">
                <a16:creationId xmlns:a16="http://schemas.microsoft.com/office/drawing/2014/main" id="{9F1938E6-5844-4990-B5E1-3A97390F118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1094" y="2380419"/>
            <a:ext cx="3673949" cy="1369865"/>
          </a:xfrm>
          <a:prstGeom prst="rect">
            <a:avLst/>
          </a:prstGeom>
        </p:spPr>
      </p:pic>
      <p:pic>
        <p:nvPicPr>
          <p:cNvPr id="15" name="Picture 14">
            <a:extLst>
              <a:ext uri="{FF2B5EF4-FFF2-40B4-BE49-F238E27FC236}">
                <a16:creationId xmlns:a16="http://schemas.microsoft.com/office/drawing/2014/main" id="{71005DDB-28CC-4854-A5DF-CE4061C4226A}"/>
              </a:ext>
            </a:extLst>
          </p:cNvPr>
          <p:cNvPicPr>
            <a:picLocks noChangeAspect="1"/>
          </p:cNvPicPr>
          <p:nvPr/>
        </p:nvPicPr>
        <p:blipFill>
          <a:blip r:embed="rId9"/>
          <a:stretch>
            <a:fillRect/>
          </a:stretch>
        </p:blipFill>
        <p:spPr>
          <a:xfrm>
            <a:off x="4007225" y="3770033"/>
            <a:ext cx="2511332" cy="1312557"/>
          </a:xfrm>
          <a:prstGeom prst="rect">
            <a:avLst/>
          </a:prstGeom>
        </p:spPr>
      </p:pic>
      <p:pic>
        <p:nvPicPr>
          <p:cNvPr id="16" name="Picture 2" descr="Wits University Registration, Application, Courses, Prospectus - 2021-2022  Wiki">
            <a:extLst>
              <a:ext uri="{FF2B5EF4-FFF2-40B4-BE49-F238E27FC236}">
                <a16:creationId xmlns:a16="http://schemas.microsoft.com/office/drawing/2014/main" id="{9CAE1D43-10A4-433E-8DB0-198A07958A08}"/>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2364" t="4994" r="28959" b="5655"/>
          <a:stretch/>
        </p:blipFill>
        <p:spPr bwMode="auto">
          <a:xfrm>
            <a:off x="7707877" y="1712654"/>
            <a:ext cx="1791377" cy="16560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66CE45CD-BC8D-45EE-880E-D6C617ECA506}"/>
              </a:ext>
            </a:extLst>
          </p:cNvPr>
          <p:cNvPicPr>
            <a:picLocks noChangeAspect="1"/>
          </p:cNvPicPr>
          <p:nvPr/>
        </p:nvPicPr>
        <p:blipFill>
          <a:blip r:embed="rId11"/>
          <a:stretch>
            <a:fillRect/>
          </a:stretch>
        </p:blipFill>
        <p:spPr>
          <a:xfrm>
            <a:off x="2601644" y="3718653"/>
            <a:ext cx="1530229" cy="1530229"/>
          </a:xfrm>
          <a:prstGeom prst="rect">
            <a:avLst/>
          </a:prstGeom>
        </p:spPr>
      </p:pic>
      <p:pic>
        <p:nvPicPr>
          <p:cNvPr id="2050" name="Picture 2" descr="https://www.finddx.org/wp-content/uploads/2019/03/fleming-fund-logo-cr.jpg">
            <a:extLst>
              <a:ext uri="{FF2B5EF4-FFF2-40B4-BE49-F238E27FC236}">
                <a16:creationId xmlns:a16="http://schemas.microsoft.com/office/drawing/2014/main" id="{CE6945F4-B6A0-42F0-A453-717D9189F0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67675" y="298035"/>
            <a:ext cx="3514725" cy="12668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qafrica logo_final_oranges_black_text">
            <a:extLst>
              <a:ext uri="{FF2B5EF4-FFF2-40B4-BE49-F238E27FC236}">
                <a16:creationId xmlns:a16="http://schemas.microsoft.com/office/drawing/2014/main" id="{2FF32BC8-0D0E-4A33-B64A-CA6F655AF3E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11054" y="281900"/>
            <a:ext cx="3169891" cy="18068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71F4EEC-6084-4A1D-A71F-94EDA70F00E7}"/>
              </a:ext>
            </a:extLst>
          </p:cNvPr>
          <p:cNvPicPr>
            <a:picLocks noChangeAspect="1"/>
          </p:cNvPicPr>
          <p:nvPr/>
        </p:nvPicPr>
        <p:blipFill rotWithShape="1">
          <a:blip r:embed="rId14"/>
          <a:srcRect l="5313" t="21746" b="14070"/>
          <a:stretch/>
        </p:blipFill>
        <p:spPr>
          <a:xfrm>
            <a:off x="289691" y="675317"/>
            <a:ext cx="2074089" cy="862180"/>
          </a:xfrm>
          <a:prstGeom prst="rect">
            <a:avLst/>
          </a:prstGeom>
        </p:spPr>
      </p:pic>
      <p:pic>
        <p:nvPicPr>
          <p:cNvPr id="17" name="Picture 16">
            <a:extLst>
              <a:ext uri="{FF2B5EF4-FFF2-40B4-BE49-F238E27FC236}">
                <a16:creationId xmlns:a16="http://schemas.microsoft.com/office/drawing/2014/main" id="{E06500B0-B48D-465D-8349-E12EE84B9BAD}"/>
              </a:ext>
            </a:extLst>
          </p:cNvPr>
          <p:cNvPicPr>
            <a:picLocks noChangeAspect="1"/>
          </p:cNvPicPr>
          <p:nvPr/>
        </p:nvPicPr>
        <p:blipFill>
          <a:blip r:embed="rId15"/>
          <a:stretch>
            <a:fillRect/>
          </a:stretch>
        </p:blipFill>
        <p:spPr>
          <a:xfrm>
            <a:off x="8963363" y="5348499"/>
            <a:ext cx="1218743" cy="1218743"/>
          </a:xfrm>
          <a:prstGeom prst="rect">
            <a:avLst/>
          </a:prstGeom>
        </p:spPr>
      </p:pic>
      <p:sp>
        <p:nvSpPr>
          <p:cNvPr id="3" name="TextBox 2">
            <a:extLst>
              <a:ext uri="{FF2B5EF4-FFF2-40B4-BE49-F238E27FC236}">
                <a16:creationId xmlns:a16="http://schemas.microsoft.com/office/drawing/2014/main" id="{B9603512-65CA-44DF-8FD8-CBE740754E83}"/>
              </a:ext>
            </a:extLst>
          </p:cNvPr>
          <p:cNvSpPr txBox="1"/>
          <p:nvPr/>
        </p:nvSpPr>
        <p:spPr>
          <a:xfrm>
            <a:off x="2363780" y="921741"/>
            <a:ext cx="11028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rPr>
              <a:t>Africa PGI</a:t>
            </a:r>
          </a:p>
        </p:txBody>
      </p:sp>
      <p:pic>
        <p:nvPicPr>
          <p:cNvPr id="2054" name="Picture 6" descr="https://www.sanger.ac.uk/wp-content/uploads/Wellcome_Sanger_Institute_Logo_Landscape_Digital_RGB_Full_Colour.jpg">
            <a:extLst>
              <a:ext uri="{FF2B5EF4-FFF2-40B4-BE49-F238E27FC236}">
                <a16:creationId xmlns:a16="http://schemas.microsoft.com/office/drawing/2014/main" id="{9B09C1FE-2122-47B9-8365-C154340E454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486181" y="3948789"/>
            <a:ext cx="3514725" cy="12100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3783ACD-80CE-468A-AD2F-CA8E0E83767B}"/>
              </a:ext>
            </a:extLst>
          </p:cNvPr>
          <p:cNvPicPr>
            <a:picLocks noChangeAspect="1"/>
          </p:cNvPicPr>
          <p:nvPr/>
        </p:nvPicPr>
        <p:blipFill>
          <a:blip r:embed="rId17"/>
          <a:stretch>
            <a:fillRect/>
          </a:stretch>
        </p:blipFill>
        <p:spPr>
          <a:xfrm>
            <a:off x="1647606" y="1577984"/>
            <a:ext cx="2506100" cy="1043164"/>
          </a:xfrm>
          <a:prstGeom prst="rect">
            <a:avLst/>
          </a:prstGeom>
        </p:spPr>
      </p:pic>
      <p:pic>
        <p:nvPicPr>
          <p:cNvPr id="8" name="Picture 7">
            <a:extLst>
              <a:ext uri="{FF2B5EF4-FFF2-40B4-BE49-F238E27FC236}">
                <a16:creationId xmlns:a16="http://schemas.microsoft.com/office/drawing/2014/main" id="{A2248A33-59D1-43D1-9C2B-E38B389ADAEA}"/>
              </a:ext>
            </a:extLst>
          </p:cNvPr>
          <p:cNvPicPr>
            <a:picLocks noChangeAspect="1"/>
          </p:cNvPicPr>
          <p:nvPr/>
        </p:nvPicPr>
        <p:blipFill>
          <a:blip r:embed="rId18"/>
          <a:stretch>
            <a:fillRect/>
          </a:stretch>
        </p:blipFill>
        <p:spPr>
          <a:xfrm>
            <a:off x="3954846" y="131437"/>
            <a:ext cx="1946800" cy="1081555"/>
          </a:xfrm>
          <a:prstGeom prst="rect">
            <a:avLst/>
          </a:prstGeom>
        </p:spPr>
      </p:pic>
      <p:pic>
        <p:nvPicPr>
          <p:cNvPr id="20" name="Picture 2" descr="Wellcome Trust - Wikipedia">
            <a:extLst>
              <a:ext uri="{FF2B5EF4-FFF2-40B4-BE49-F238E27FC236}">
                <a16:creationId xmlns:a16="http://schemas.microsoft.com/office/drawing/2014/main" id="{3B496DA4-93C0-4EE0-8607-ADD701ED1E1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386317" y="5348499"/>
            <a:ext cx="1262154" cy="126215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577EA659-FE51-4C45-8013-5D9CA6EAA24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526186" y="3055562"/>
            <a:ext cx="2474720" cy="746875"/>
          </a:xfrm>
          <a:prstGeom prst="rect">
            <a:avLst/>
          </a:prstGeom>
        </p:spPr>
      </p:pic>
      <p:pic>
        <p:nvPicPr>
          <p:cNvPr id="50178" name="Picture 2" descr="National Department of Health – National Department of Health Website">
            <a:extLst>
              <a:ext uri="{FF2B5EF4-FFF2-40B4-BE49-F238E27FC236}">
                <a16:creationId xmlns:a16="http://schemas.microsoft.com/office/drawing/2014/main" id="{8769C223-0B92-432C-81A1-BD744815CBC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572734" y="1775205"/>
            <a:ext cx="2478101" cy="916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8541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B522FA-C869-4F6E-A3EB-17C35246606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8848" b="6461"/>
          <a:stretch/>
        </p:blipFill>
        <p:spPr>
          <a:xfrm>
            <a:off x="0" y="0"/>
            <a:ext cx="12192000" cy="6858000"/>
          </a:xfrm>
          <a:prstGeom prst="rect">
            <a:avLst/>
          </a:prstGeom>
        </p:spPr>
      </p:pic>
    </p:spTree>
    <p:extLst>
      <p:ext uri="{BB962C8B-B14F-4D97-AF65-F5344CB8AC3E}">
        <p14:creationId xmlns:p14="http://schemas.microsoft.com/office/powerpoint/2010/main" val="42432460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DB8D-76BC-4670-958F-D913291A099B}"/>
              </a:ext>
            </a:extLst>
          </p:cNvPr>
          <p:cNvSpPr>
            <a:spLocks noGrp="1"/>
          </p:cNvSpPr>
          <p:nvPr>
            <p:ph type="title"/>
          </p:nvPr>
        </p:nvSpPr>
        <p:spPr>
          <a:xfrm>
            <a:off x="609600" y="233681"/>
            <a:ext cx="9639719" cy="1457008"/>
          </a:xfrm>
        </p:spPr>
        <p:txBody>
          <a:bodyPr/>
          <a:lstStyle/>
          <a:p>
            <a:r>
              <a:rPr lang="en-ZA" dirty="0"/>
              <a:t>Surveillance programs at CRDM</a:t>
            </a:r>
          </a:p>
        </p:txBody>
      </p:sp>
      <p:sp>
        <p:nvSpPr>
          <p:cNvPr id="4" name="Content Placeholder 3">
            <a:extLst>
              <a:ext uri="{FF2B5EF4-FFF2-40B4-BE49-F238E27FC236}">
                <a16:creationId xmlns:a16="http://schemas.microsoft.com/office/drawing/2014/main" id="{923734CB-51F6-4ABB-B5D9-98B342C6DFD0}"/>
              </a:ext>
            </a:extLst>
          </p:cNvPr>
          <p:cNvSpPr>
            <a:spLocks noGrp="1"/>
          </p:cNvSpPr>
          <p:nvPr>
            <p:ph sz="half" idx="1"/>
          </p:nvPr>
        </p:nvSpPr>
        <p:spPr>
          <a:xfrm>
            <a:off x="609600" y="1849558"/>
            <a:ext cx="10537672" cy="4667250"/>
          </a:xfrm>
        </p:spPr>
        <p:txBody>
          <a:bodyPr>
            <a:normAutofit/>
          </a:bodyPr>
          <a:lstStyle/>
          <a:p>
            <a:r>
              <a:rPr lang="en-ZA" dirty="0">
                <a:latin typeface="+mj-lt"/>
              </a:rPr>
              <a:t>Sentinel syndromic surveillance (surveillance for ILI and Pneumonia)</a:t>
            </a:r>
          </a:p>
          <a:p>
            <a:pPr lvl="1"/>
            <a:r>
              <a:rPr lang="en-ZA" dirty="0">
                <a:latin typeface="+mj-lt"/>
              </a:rPr>
              <a:t>Influenza, RSV, SARS-CoV-2, </a:t>
            </a:r>
            <a:r>
              <a:rPr lang="en-ZA" i="1" dirty="0" smtClean="0">
                <a:latin typeface="+mj-lt"/>
              </a:rPr>
              <a:t>B. pertussis</a:t>
            </a:r>
            <a:endParaRPr lang="en-ZA" i="1" dirty="0">
              <a:latin typeface="+mj-lt"/>
            </a:endParaRPr>
          </a:p>
          <a:p>
            <a:pPr marL="457200" lvl="1" indent="0">
              <a:buNone/>
            </a:pPr>
            <a:endParaRPr lang="en-ZA" dirty="0">
              <a:latin typeface="+mj-lt"/>
            </a:endParaRPr>
          </a:p>
          <a:p>
            <a:r>
              <a:rPr lang="en-ZA" dirty="0">
                <a:latin typeface="+mj-lt"/>
              </a:rPr>
              <a:t>National laboratory-based surveillance (GERMS)</a:t>
            </a:r>
          </a:p>
          <a:p>
            <a:pPr lvl="1"/>
            <a:r>
              <a:rPr lang="en-ZA" dirty="0">
                <a:latin typeface="+mj-lt"/>
              </a:rPr>
              <a:t>P</a:t>
            </a:r>
            <a:r>
              <a:rPr lang="en-ZA" dirty="0" smtClean="0">
                <a:latin typeface="+mj-lt"/>
              </a:rPr>
              <a:t>neumococcus</a:t>
            </a:r>
            <a:r>
              <a:rPr lang="en-ZA" dirty="0">
                <a:latin typeface="+mj-lt"/>
              </a:rPr>
              <a:t>, </a:t>
            </a:r>
            <a:r>
              <a:rPr lang="en-ZA" i="1" dirty="0">
                <a:latin typeface="+mj-lt"/>
              </a:rPr>
              <a:t>H. influenzae</a:t>
            </a:r>
            <a:r>
              <a:rPr lang="en-ZA" dirty="0">
                <a:latin typeface="+mj-lt"/>
              </a:rPr>
              <a:t>, meningococcus, Group A and B streptococcus</a:t>
            </a:r>
          </a:p>
          <a:p>
            <a:pPr marL="457200" lvl="1" indent="0">
              <a:buNone/>
            </a:pPr>
            <a:endParaRPr lang="en-ZA" dirty="0">
              <a:latin typeface="+mj-lt"/>
            </a:endParaRPr>
          </a:p>
          <a:p>
            <a:r>
              <a:rPr lang="en-ZA" dirty="0">
                <a:latin typeface="+mj-lt"/>
              </a:rPr>
              <a:t>Aims: Detect outbreaks and identify causal pathogen, identify risk groups, evaluate interventions, guide vaccine strain selection and vaccine policy</a:t>
            </a:r>
          </a:p>
        </p:txBody>
      </p:sp>
    </p:spTree>
    <p:extLst>
      <p:ext uri="{BB962C8B-B14F-4D97-AF65-F5344CB8AC3E}">
        <p14:creationId xmlns:p14="http://schemas.microsoft.com/office/powerpoint/2010/main" val="33395465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1088235" y="116318"/>
            <a:ext cx="9754272" cy="1008112"/>
          </a:xfrm>
        </p:spPr>
        <p:txBody>
          <a:bodyPr>
            <a:noAutofit/>
          </a:bodyPr>
          <a:lstStyle/>
          <a:p>
            <a:r>
              <a:rPr lang="en-ZA" sz="3600" dirty="0"/>
              <a:t>ILI and Pneumonia surveillance sites, South Africa</a:t>
            </a:r>
          </a:p>
        </p:txBody>
      </p:sp>
      <p:pic>
        <p:nvPicPr>
          <p:cNvPr id="4" name="Content Placeholder 3" descr="samap"/>
          <p:cNvPicPr>
            <a:picLocks noGrp="1"/>
          </p:cNvPicPr>
          <p:nvPr>
            <p:ph idx="1"/>
          </p:nvPr>
        </p:nvPicPr>
        <p:blipFill>
          <a:blip r:embed="rId3" cstate="print"/>
          <a:stretch>
            <a:fillRect/>
          </a:stretch>
        </p:blipFill>
        <p:spPr bwMode="auto">
          <a:xfrm>
            <a:off x="3505200" y="1425575"/>
            <a:ext cx="5181600" cy="4486275"/>
          </a:xfrm>
          <a:prstGeom prst="rect">
            <a:avLst/>
          </a:prstGeom>
          <a:noFill/>
          <a:ln w="9525">
            <a:noFill/>
            <a:miter lim="800000"/>
            <a:headEnd/>
            <a:tailEnd/>
          </a:ln>
        </p:spPr>
      </p:pic>
      <p:sp>
        <p:nvSpPr>
          <p:cNvPr id="7" name="Slide Number Placeholder 6"/>
          <p:cNvSpPr>
            <a:spLocks noGrp="1"/>
          </p:cNvSpPr>
          <p:nvPr>
            <p:ph type="sldNum" sz="quarter" idx="12"/>
          </p:nvPr>
        </p:nvSpPr>
        <p:spPr/>
        <p:txBody>
          <a:bodyPr/>
          <a:lstStyle/>
          <a:p>
            <a:fld id="{8530C550-ADA3-4E0A-9A1B-E743954AA5C2}" type="slidenum">
              <a:rPr lang="en-US" smtClean="0"/>
              <a:t>3</a:t>
            </a:fld>
            <a:endParaRPr lang="en-US"/>
          </a:p>
        </p:txBody>
      </p:sp>
      <p:sp>
        <p:nvSpPr>
          <p:cNvPr id="3" name="TextBox 2"/>
          <p:cNvSpPr txBox="1"/>
          <p:nvPr/>
        </p:nvSpPr>
        <p:spPr>
          <a:xfrm>
            <a:off x="9180498" y="1942869"/>
            <a:ext cx="2740595" cy="738664"/>
          </a:xfrm>
          <a:prstGeom prst="rect">
            <a:avLst/>
          </a:prstGeom>
          <a:noFill/>
          <a:ln>
            <a:noFill/>
          </a:ln>
        </p:spPr>
        <p:txBody>
          <a:bodyPr wrap="square" rtlCol="0">
            <a:spAutoFit/>
          </a:bodyPr>
          <a:lstStyle/>
          <a:p>
            <a:r>
              <a:rPr lang="en-ZA" sz="1400" dirty="0" err="1">
                <a:latin typeface="+mj-lt"/>
              </a:rPr>
              <a:t>Mapulaneng</a:t>
            </a:r>
            <a:r>
              <a:rPr lang="en-ZA" sz="1400" dirty="0">
                <a:latin typeface="+mj-lt"/>
              </a:rPr>
              <a:t> and </a:t>
            </a:r>
            <a:r>
              <a:rPr lang="en-ZA" sz="1400" dirty="0" err="1">
                <a:latin typeface="+mj-lt"/>
              </a:rPr>
              <a:t>Matikwana</a:t>
            </a:r>
            <a:endParaRPr lang="en-ZA" sz="1400" dirty="0">
              <a:latin typeface="+mj-lt"/>
            </a:endParaRPr>
          </a:p>
          <a:p>
            <a:r>
              <a:rPr lang="en-ZA" sz="1400" dirty="0">
                <a:latin typeface="+mj-lt"/>
              </a:rPr>
              <a:t>Hospitals (2009)</a:t>
            </a:r>
          </a:p>
          <a:p>
            <a:r>
              <a:rPr lang="en-ZA" sz="1400" dirty="0" err="1">
                <a:latin typeface="+mj-lt"/>
              </a:rPr>
              <a:t>Tintswalo</a:t>
            </a:r>
            <a:r>
              <a:rPr lang="en-ZA" sz="1400" dirty="0">
                <a:latin typeface="+mj-lt"/>
              </a:rPr>
              <a:t> Hospital (2020)</a:t>
            </a:r>
          </a:p>
        </p:txBody>
      </p:sp>
      <p:sp>
        <p:nvSpPr>
          <p:cNvPr id="5" name="TextBox 4"/>
          <p:cNvSpPr txBox="1"/>
          <p:nvPr/>
        </p:nvSpPr>
        <p:spPr>
          <a:xfrm>
            <a:off x="9053689" y="4217028"/>
            <a:ext cx="2429065" cy="307777"/>
          </a:xfrm>
          <a:prstGeom prst="rect">
            <a:avLst/>
          </a:prstGeom>
          <a:noFill/>
          <a:ln>
            <a:noFill/>
          </a:ln>
        </p:spPr>
        <p:txBody>
          <a:bodyPr wrap="square" rtlCol="0">
            <a:spAutoFit/>
          </a:bodyPr>
          <a:lstStyle/>
          <a:p>
            <a:r>
              <a:rPr lang="en-ZA" sz="1400" dirty="0" err="1">
                <a:latin typeface="+mj-lt"/>
              </a:rPr>
              <a:t>Edendale</a:t>
            </a:r>
            <a:r>
              <a:rPr lang="en-ZA" sz="1400" dirty="0">
                <a:latin typeface="+mj-lt"/>
              </a:rPr>
              <a:t> Hospital (2009)</a:t>
            </a:r>
          </a:p>
        </p:txBody>
      </p:sp>
      <p:sp>
        <p:nvSpPr>
          <p:cNvPr id="6" name="TextBox 5"/>
          <p:cNvSpPr txBox="1"/>
          <p:nvPr/>
        </p:nvSpPr>
        <p:spPr>
          <a:xfrm>
            <a:off x="266293" y="2534348"/>
            <a:ext cx="2745209" cy="523220"/>
          </a:xfrm>
          <a:prstGeom prst="rect">
            <a:avLst/>
          </a:prstGeom>
          <a:noFill/>
          <a:ln>
            <a:noFill/>
          </a:ln>
        </p:spPr>
        <p:txBody>
          <a:bodyPr wrap="square" rtlCol="0">
            <a:spAutoFit/>
          </a:bodyPr>
          <a:lstStyle/>
          <a:p>
            <a:r>
              <a:rPr lang="en-ZA" sz="1400" dirty="0">
                <a:latin typeface="+mj-lt"/>
              </a:rPr>
              <a:t>Klerksdorp-</a:t>
            </a:r>
            <a:r>
              <a:rPr lang="en-ZA" sz="1400" dirty="0" err="1">
                <a:latin typeface="+mj-lt"/>
              </a:rPr>
              <a:t>Tshepong</a:t>
            </a:r>
            <a:r>
              <a:rPr lang="en-ZA" sz="1400" dirty="0">
                <a:latin typeface="+mj-lt"/>
              </a:rPr>
              <a:t>  Hospital Complex (2010)</a:t>
            </a:r>
          </a:p>
        </p:txBody>
      </p:sp>
      <p:sp>
        <p:nvSpPr>
          <p:cNvPr id="8" name="TextBox 7"/>
          <p:cNvSpPr txBox="1"/>
          <p:nvPr/>
        </p:nvSpPr>
        <p:spPr>
          <a:xfrm>
            <a:off x="266241" y="1327668"/>
            <a:ext cx="2679235" cy="523220"/>
          </a:xfrm>
          <a:prstGeom prst="rect">
            <a:avLst/>
          </a:prstGeom>
          <a:noFill/>
          <a:ln>
            <a:noFill/>
          </a:ln>
        </p:spPr>
        <p:txBody>
          <a:bodyPr wrap="square" rtlCol="0">
            <a:spAutoFit/>
          </a:bodyPr>
          <a:lstStyle/>
          <a:p>
            <a:r>
              <a:rPr lang="en-ZA" sz="1400" dirty="0" err="1">
                <a:latin typeface="+mj-lt"/>
              </a:rPr>
              <a:t>Rahima</a:t>
            </a:r>
            <a:r>
              <a:rPr lang="en-ZA" sz="1400" dirty="0">
                <a:latin typeface="+mj-lt"/>
              </a:rPr>
              <a:t> </a:t>
            </a:r>
            <a:r>
              <a:rPr lang="en-ZA" sz="1400" dirty="0" err="1">
                <a:latin typeface="+mj-lt"/>
              </a:rPr>
              <a:t>Moosa</a:t>
            </a:r>
            <a:r>
              <a:rPr lang="en-ZA" sz="1400" dirty="0">
                <a:latin typeface="+mj-lt"/>
              </a:rPr>
              <a:t> Mother and Child Hospital (2014)</a:t>
            </a:r>
          </a:p>
        </p:txBody>
      </p:sp>
      <p:sp>
        <p:nvSpPr>
          <p:cNvPr id="9" name="TextBox 8"/>
          <p:cNvSpPr txBox="1"/>
          <p:nvPr/>
        </p:nvSpPr>
        <p:spPr>
          <a:xfrm>
            <a:off x="223610" y="4062884"/>
            <a:ext cx="2830577" cy="738664"/>
          </a:xfrm>
          <a:prstGeom prst="rect">
            <a:avLst/>
          </a:prstGeom>
          <a:noFill/>
          <a:ln>
            <a:noFill/>
          </a:ln>
        </p:spPr>
        <p:txBody>
          <a:bodyPr wrap="square" rtlCol="0">
            <a:spAutoFit/>
          </a:bodyPr>
          <a:lstStyle/>
          <a:p>
            <a:r>
              <a:rPr lang="en-ZA" sz="1400" dirty="0">
                <a:latin typeface="+mj-lt"/>
              </a:rPr>
              <a:t>Red Cross Memorial </a:t>
            </a:r>
            <a:r>
              <a:rPr lang="en-ZA" sz="1400" dirty="0" err="1">
                <a:latin typeface="+mj-lt"/>
              </a:rPr>
              <a:t>Childrens</a:t>
            </a:r>
            <a:r>
              <a:rPr lang="en-ZA" sz="1400" dirty="0">
                <a:latin typeface="+mj-lt"/>
              </a:rPr>
              <a:t>’ Hospital  and Mitchell’s Plain Hospital (2016)</a:t>
            </a:r>
          </a:p>
        </p:txBody>
      </p:sp>
      <p:cxnSp>
        <p:nvCxnSpPr>
          <p:cNvPr id="11" name="Straight Arrow Connector 10"/>
          <p:cNvCxnSpPr>
            <a:stCxn id="3" idx="1"/>
          </p:cNvCxnSpPr>
          <p:nvPr/>
        </p:nvCxnSpPr>
        <p:spPr>
          <a:xfrm flipH="1">
            <a:off x="8150578" y="2681533"/>
            <a:ext cx="925688" cy="19713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5" idx="1"/>
          </p:cNvCxnSpPr>
          <p:nvPr/>
        </p:nvCxnSpPr>
        <p:spPr>
          <a:xfrm flipH="1" flipV="1">
            <a:off x="7778045" y="4244623"/>
            <a:ext cx="1275644" cy="19123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2945423" y="1504521"/>
            <a:ext cx="4047773" cy="15468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3011502" y="2933515"/>
            <a:ext cx="3591521" cy="33038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2639483" y="4863359"/>
            <a:ext cx="1633579" cy="7373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114846" y="4862684"/>
            <a:ext cx="2830577" cy="523220"/>
          </a:xfrm>
          <a:prstGeom prst="rect">
            <a:avLst/>
          </a:prstGeom>
          <a:noFill/>
          <a:ln>
            <a:noFill/>
          </a:ln>
        </p:spPr>
        <p:txBody>
          <a:bodyPr wrap="square" rtlCol="0">
            <a:spAutoFit/>
          </a:bodyPr>
          <a:lstStyle/>
          <a:p>
            <a:r>
              <a:rPr lang="en-ZA" sz="1400" dirty="0" err="1">
                <a:solidFill>
                  <a:srgbClr val="FF0000"/>
                </a:solidFill>
                <a:latin typeface="+mj-lt"/>
              </a:rPr>
              <a:t>Eastridge</a:t>
            </a:r>
            <a:r>
              <a:rPr lang="en-ZA" sz="1400" dirty="0">
                <a:solidFill>
                  <a:srgbClr val="FF0000"/>
                </a:solidFill>
                <a:latin typeface="+mj-lt"/>
              </a:rPr>
              <a:t> Clinic (2019) and Mitchell’s Plain Clinic (2019)</a:t>
            </a:r>
          </a:p>
        </p:txBody>
      </p:sp>
      <p:sp>
        <p:nvSpPr>
          <p:cNvPr id="20" name="TextBox 19"/>
          <p:cNvSpPr txBox="1"/>
          <p:nvPr/>
        </p:nvSpPr>
        <p:spPr>
          <a:xfrm>
            <a:off x="323251" y="3060422"/>
            <a:ext cx="2745209" cy="307777"/>
          </a:xfrm>
          <a:prstGeom prst="rect">
            <a:avLst/>
          </a:prstGeom>
          <a:noFill/>
          <a:ln>
            <a:noFill/>
          </a:ln>
        </p:spPr>
        <p:txBody>
          <a:bodyPr wrap="square" rtlCol="0">
            <a:spAutoFit/>
          </a:bodyPr>
          <a:lstStyle/>
          <a:p>
            <a:r>
              <a:rPr lang="en-ZA" sz="1400" dirty="0" err="1">
                <a:solidFill>
                  <a:srgbClr val="FF0000"/>
                </a:solidFill>
                <a:latin typeface="+mj-lt"/>
              </a:rPr>
              <a:t>Jouberton</a:t>
            </a:r>
            <a:r>
              <a:rPr lang="en-ZA" sz="1400" dirty="0">
                <a:solidFill>
                  <a:srgbClr val="FF0000"/>
                </a:solidFill>
                <a:latin typeface="+mj-lt"/>
              </a:rPr>
              <a:t> Clinic (2012)</a:t>
            </a:r>
          </a:p>
        </p:txBody>
      </p:sp>
      <p:sp>
        <p:nvSpPr>
          <p:cNvPr id="21" name="TextBox 20"/>
          <p:cNvSpPr txBox="1"/>
          <p:nvPr/>
        </p:nvSpPr>
        <p:spPr>
          <a:xfrm>
            <a:off x="9180498" y="2442102"/>
            <a:ext cx="2740595" cy="584775"/>
          </a:xfrm>
          <a:prstGeom prst="rect">
            <a:avLst/>
          </a:prstGeom>
          <a:noFill/>
          <a:ln>
            <a:noFill/>
          </a:ln>
        </p:spPr>
        <p:txBody>
          <a:bodyPr wrap="square" rtlCol="0">
            <a:spAutoFit/>
          </a:bodyPr>
          <a:lstStyle/>
          <a:p>
            <a:endParaRPr lang="en-ZA" dirty="0">
              <a:solidFill>
                <a:srgbClr val="FF0000"/>
              </a:solidFill>
              <a:latin typeface="+mj-lt"/>
            </a:endParaRPr>
          </a:p>
          <a:p>
            <a:r>
              <a:rPr lang="en-ZA" sz="1400" dirty="0">
                <a:solidFill>
                  <a:srgbClr val="FF0000"/>
                </a:solidFill>
                <a:latin typeface="+mj-lt"/>
              </a:rPr>
              <a:t>Agincourt Clinic  (2016)</a:t>
            </a:r>
          </a:p>
        </p:txBody>
      </p:sp>
      <p:sp>
        <p:nvSpPr>
          <p:cNvPr id="22" name="TextBox 21"/>
          <p:cNvSpPr txBox="1"/>
          <p:nvPr/>
        </p:nvSpPr>
        <p:spPr>
          <a:xfrm>
            <a:off x="9043516" y="4524805"/>
            <a:ext cx="2461815" cy="307777"/>
          </a:xfrm>
          <a:prstGeom prst="rect">
            <a:avLst/>
          </a:prstGeom>
          <a:noFill/>
          <a:ln>
            <a:noFill/>
          </a:ln>
        </p:spPr>
        <p:txBody>
          <a:bodyPr wrap="square" rtlCol="0">
            <a:spAutoFit/>
          </a:bodyPr>
          <a:lstStyle/>
          <a:p>
            <a:r>
              <a:rPr lang="en-ZA" sz="1400" dirty="0" err="1">
                <a:solidFill>
                  <a:srgbClr val="FF0000"/>
                </a:solidFill>
                <a:latin typeface="+mj-lt"/>
              </a:rPr>
              <a:t>Edendale</a:t>
            </a:r>
            <a:r>
              <a:rPr lang="en-ZA" sz="1400" dirty="0">
                <a:solidFill>
                  <a:srgbClr val="FF0000"/>
                </a:solidFill>
                <a:latin typeface="+mj-lt"/>
              </a:rPr>
              <a:t> Gateway Clinic (2012)</a:t>
            </a:r>
          </a:p>
        </p:txBody>
      </p:sp>
      <p:sp>
        <p:nvSpPr>
          <p:cNvPr id="24" name="Footer Placeholder 3"/>
          <p:cNvSpPr txBox="1">
            <a:spLocks/>
          </p:cNvSpPr>
          <p:nvPr/>
        </p:nvSpPr>
        <p:spPr>
          <a:xfrm>
            <a:off x="9441712" y="5454502"/>
            <a:ext cx="2451655" cy="74806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rgbClr val="FF0000"/>
                </a:solidFill>
                <a:latin typeface="+mj-lt"/>
              </a:rPr>
              <a:t>ILI: influenza-like illness </a:t>
            </a:r>
          </a:p>
          <a:p>
            <a:pPr algn="l"/>
            <a:r>
              <a:rPr lang="en-US" sz="1400" dirty="0">
                <a:solidFill>
                  <a:schemeClr val="tx1"/>
                </a:solidFill>
                <a:latin typeface="+mj-lt"/>
              </a:rPr>
              <a:t>SRI: severe respiratory illness</a:t>
            </a:r>
          </a:p>
        </p:txBody>
      </p:sp>
      <p:sp>
        <p:nvSpPr>
          <p:cNvPr id="25" name="TextBox 24"/>
          <p:cNvSpPr txBox="1"/>
          <p:nvPr/>
        </p:nvSpPr>
        <p:spPr>
          <a:xfrm>
            <a:off x="3629190" y="5890760"/>
            <a:ext cx="5251041"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mj-lt"/>
              </a:rPr>
              <a:t>6000 specimens collected annually </a:t>
            </a:r>
          </a:p>
          <a:p>
            <a:pPr marL="285750" indent="-285750">
              <a:buFont typeface="Arial" panose="020B0604020202020204" pitchFamily="34" charset="0"/>
              <a:buChar char="•"/>
            </a:pPr>
            <a:r>
              <a:rPr lang="en-US" sz="1400" dirty="0">
                <a:latin typeface="+mj-lt"/>
              </a:rPr>
              <a:t>Etiology of severe respiratory illness and influenza-like illness </a:t>
            </a:r>
          </a:p>
          <a:p>
            <a:pPr marL="285750" indent="-285750">
              <a:buFont typeface="Arial" panose="020B0604020202020204" pitchFamily="34" charset="0"/>
              <a:buChar char="•"/>
            </a:pPr>
            <a:r>
              <a:rPr lang="en-US" sz="1400" dirty="0">
                <a:latin typeface="+mj-lt"/>
              </a:rPr>
              <a:t>Nasopharyngeal specimens in universal transport medium </a:t>
            </a:r>
          </a:p>
          <a:p>
            <a:pPr marL="285750" indent="-285750">
              <a:buFont typeface="Arial" panose="020B0604020202020204" pitchFamily="34" charset="0"/>
              <a:buChar char="•"/>
            </a:pPr>
            <a:r>
              <a:rPr lang="en-US" sz="1400" i="1" dirty="0">
                <a:latin typeface="+mj-lt"/>
              </a:rPr>
              <a:t>B. pertussis</a:t>
            </a:r>
            <a:r>
              <a:rPr lang="en-US" sz="1400" dirty="0">
                <a:latin typeface="+mj-lt"/>
              </a:rPr>
              <a:t>, RSV, influenza and SARS-CoV-2</a:t>
            </a:r>
            <a:endParaRPr lang="en-US" sz="1400" dirty="0">
              <a:solidFill>
                <a:srgbClr val="FF0000"/>
              </a:solidFill>
              <a:latin typeface="+mj-lt"/>
            </a:endParaRPr>
          </a:p>
          <a:p>
            <a:pPr marL="742950" lvl="1" indent="-285750">
              <a:buFont typeface="Arial" panose="020B0604020202020204" pitchFamily="34" charset="0"/>
              <a:buChar char="•"/>
            </a:pPr>
            <a:endParaRPr lang="en-US" sz="1400" dirty="0">
              <a:solidFill>
                <a:srgbClr val="FF0000"/>
              </a:solidFill>
            </a:endParaRPr>
          </a:p>
        </p:txBody>
      </p:sp>
    </p:spTree>
    <p:extLst>
      <p:ext uri="{BB962C8B-B14F-4D97-AF65-F5344CB8AC3E}">
        <p14:creationId xmlns:p14="http://schemas.microsoft.com/office/powerpoint/2010/main" val="8895483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D6B068-A9D9-6320-541E-80DFAB2215CC}"/>
              </a:ext>
            </a:extLst>
          </p:cNvPr>
          <p:cNvPicPr>
            <a:picLocks noChangeAspect="1"/>
          </p:cNvPicPr>
          <p:nvPr/>
        </p:nvPicPr>
        <p:blipFill>
          <a:blip r:embed="rId3"/>
          <a:stretch>
            <a:fillRect/>
          </a:stretch>
        </p:blipFill>
        <p:spPr>
          <a:xfrm>
            <a:off x="728945" y="114838"/>
            <a:ext cx="9610474" cy="6715752"/>
          </a:xfrm>
          <a:prstGeom prst="rect">
            <a:avLst/>
          </a:prstGeom>
        </p:spPr>
      </p:pic>
      <p:sp>
        <p:nvSpPr>
          <p:cNvPr id="2" name="Title 1">
            <a:extLst>
              <a:ext uri="{FF2B5EF4-FFF2-40B4-BE49-F238E27FC236}">
                <a16:creationId xmlns:a16="http://schemas.microsoft.com/office/drawing/2014/main" id="{6A542B40-97DB-512D-C969-6EC6582BC864}"/>
              </a:ext>
            </a:extLst>
          </p:cNvPr>
          <p:cNvSpPr>
            <a:spLocks noGrp="1"/>
          </p:cNvSpPr>
          <p:nvPr>
            <p:ph type="title"/>
          </p:nvPr>
        </p:nvSpPr>
        <p:spPr>
          <a:xfrm>
            <a:off x="5105401" y="736855"/>
            <a:ext cx="3634542" cy="589481"/>
          </a:xfrm>
        </p:spPr>
        <p:txBody>
          <a:bodyPr>
            <a:noAutofit/>
          </a:bodyPr>
          <a:lstStyle/>
          <a:p>
            <a:r>
              <a:rPr lang="en-US" sz="1600" dirty="0"/>
              <a:t>Phylogenetic tree based on hemagglutinin (HA) of influenza A(H1N1)pdm09 in South African, 2020- 07 November 2024</a:t>
            </a:r>
          </a:p>
        </p:txBody>
      </p:sp>
      <p:sp>
        <p:nvSpPr>
          <p:cNvPr id="7" name="TextBox 6">
            <a:extLst>
              <a:ext uri="{FF2B5EF4-FFF2-40B4-BE49-F238E27FC236}">
                <a16:creationId xmlns:a16="http://schemas.microsoft.com/office/drawing/2014/main" id="{5EFE0ACC-0AC3-08B9-C83B-347993D3A9A1}"/>
              </a:ext>
            </a:extLst>
          </p:cNvPr>
          <p:cNvSpPr txBox="1"/>
          <p:nvPr/>
        </p:nvSpPr>
        <p:spPr>
          <a:xfrm>
            <a:off x="5630536" y="4506384"/>
            <a:ext cx="3491540" cy="468000"/>
          </a:xfrm>
          <a:prstGeom prst="rect">
            <a:avLst/>
          </a:prstGeom>
          <a:solidFill>
            <a:schemeClr val="accent5">
              <a:lumMod val="40000"/>
              <a:lumOff val="60000"/>
              <a:alpha val="26000"/>
            </a:schemeClr>
          </a:solidFill>
          <a:ln>
            <a:solidFill>
              <a:schemeClr val="accent2">
                <a:lumMod val="75000"/>
                <a:alpha val="0"/>
              </a:schemeClr>
            </a:solid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9FB2630E-DB39-8416-7E74-96653323A284}"/>
              </a:ext>
            </a:extLst>
          </p:cNvPr>
          <p:cNvSpPr txBox="1"/>
          <p:nvPr/>
        </p:nvSpPr>
        <p:spPr>
          <a:xfrm>
            <a:off x="7328898" y="114838"/>
            <a:ext cx="3313396" cy="3112079"/>
          </a:xfrm>
          <a:prstGeom prst="rect">
            <a:avLst/>
          </a:prstGeom>
          <a:solidFill>
            <a:schemeClr val="accent4">
              <a:lumMod val="40000"/>
              <a:lumOff val="60000"/>
              <a:alpha val="19000"/>
            </a:schemeClr>
          </a:solidFill>
          <a:ln>
            <a:solidFill>
              <a:schemeClr val="accent2">
                <a:lumMod val="75000"/>
                <a:alpha val="0"/>
              </a:schemeClr>
            </a:solid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136FCE60-7C74-950C-8B9C-19C2EE5FB835}"/>
              </a:ext>
            </a:extLst>
          </p:cNvPr>
          <p:cNvSpPr txBox="1"/>
          <p:nvPr/>
        </p:nvSpPr>
        <p:spPr>
          <a:xfrm>
            <a:off x="9264763" y="3897248"/>
            <a:ext cx="1074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B.1A.5a.2a.1</a:t>
            </a:r>
          </a:p>
        </p:txBody>
      </p:sp>
      <p:sp>
        <p:nvSpPr>
          <p:cNvPr id="13" name="TextBox 12">
            <a:extLst>
              <a:ext uri="{FF2B5EF4-FFF2-40B4-BE49-F238E27FC236}">
                <a16:creationId xmlns:a16="http://schemas.microsoft.com/office/drawing/2014/main" id="{62498E04-5AE6-FB46-F3E6-830E11AB479A}"/>
              </a:ext>
            </a:extLst>
          </p:cNvPr>
          <p:cNvSpPr txBox="1"/>
          <p:nvPr/>
        </p:nvSpPr>
        <p:spPr>
          <a:xfrm>
            <a:off x="9563281" y="2149362"/>
            <a:ext cx="1074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B.1A.5a.2a</a:t>
            </a:r>
          </a:p>
        </p:txBody>
      </p:sp>
      <p:sp>
        <p:nvSpPr>
          <p:cNvPr id="14" name="TextBox 13">
            <a:extLst>
              <a:ext uri="{FF2B5EF4-FFF2-40B4-BE49-F238E27FC236}">
                <a16:creationId xmlns:a16="http://schemas.microsoft.com/office/drawing/2014/main" id="{0B693665-8662-15FE-17B9-2D04F23F75E4}"/>
              </a:ext>
            </a:extLst>
          </p:cNvPr>
          <p:cNvSpPr txBox="1"/>
          <p:nvPr/>
        </p:nvSpPr>
        <p:spPr>
          <a:xfrm>
            <a:off x="8202615" y="4598574"/>
            <a:ext cx="1074656" cy="2160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B.1A.5a.2</a:t>
            </a:r>
          </a:p>
        </p:txBody>
      </p:sp>
      <p:sp>
        <p:nvSpPr>
          <p:cNvPr id="15" name="TextBox 14">
            <a:extLst>
              <a:ext uri="{FF2B5EF4-FFF2-40B4-BE49-F238E27FC236}">
                <a16:creationId xmlns:a16="http://schemas.microsoft.com/office/drawing/2014/main" id="{34CEBBAE-FE73-A087-FB39-7C3EDD7A8D62}"/>
              </a:ext>
            </a:extLst>
          </p:cNvPr>
          <p:cNvSpPr txBox="1"/>
          <p:nvPr/>
        </p:nvSpPr>
        <p:spPr>
          <a:xfrm>
            <a:off x="8034251" y="5479531"/>
            <a:ext cx="1074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B.1A.5a.1</a:t>
            </a:r>
          </a:p>
        </p:txBody>
      </p:sp>
      <p:sp>
        <p:nvSpPr>
          <p:cNvPr id="18" name="TextBox 17">
            <a:extLst>
              <a:ext uri="{FF2B5EF4-FFF2-40B4-BE49-F238E27FC236}">
                <a16:creationId xmlns:a16="http://schemas.microsoft.com/office/drawing/2014/main" id="{7EBB0070-216D-3F21-C349-BCE9A17FA53A}"/>
              </a:ext>
            </a:extLst>
          </p:cNvPr>
          <p:cNvSpPr txBox="1"/>
          <p:nvPr/>
        </p:nvSpPr>
        <p:spPr>
          <a:xfrm>
            <a:off x="92404" y="2377751"/>
            <a:ext cx="5381574"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mj-lt"/>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j-lt"/>
                <a:ea typeface="Calibri" panose="020F0502020204030204" pitchFamily="34" charset="0"/>
                <a:cs typeface="Times New Roman" panose="02020603050405020304" pitchFamily="18" charset="0"/>
              </a:rPr>
              <a:t>2024 viruses (n=370) clustered within the 5a.2a clade (37/98, 97%) and the 5a.2a.1 clade (with vaccine strain) (1/98, 3%)</a:t>
            </a:r>
          </a:p>
        </p:txBody>
      </p:sp>
      <p:sp>
        <p:nvSpPr>
          <p:cNvPr id="27" name="TextBox 26">
            <a:extLst>
              <a:ext uri="{FF2B5EF4-FFF2-40B4-BE49-F238E27FC236}">
                <a16:creationId xmlns:a16="http://schemas.microsoft.com/office/drawing/2014/main" id="{B0ACB2B5-DD72-8825-18C6-C639D3373604}"/>
              </a:ext>
            </a:extLst>
          </p:cNvPr>
          <p:cNvSpPr txBox="1"/>
          <p:nvPr/>
        </p:nvSpPr>
        <p:spPr>
          <a:xfrm>
            <a:off x="4200268" y="4958323"/>
            <a:ext cx="4627612" cy="1548000"/>
          </a:xfrm>
          <a:prstGeom prst="rect">
            <a:avLst/>
          </a:prstGeom>
          <a:solidFill>
            <a:schemeClr val="accent2">
              <a:lumMod val="40000"/>
              <a:lumOff val="60000"/>
              <a:alpha val="18000"/>
            </a:schemeClr>
          </a:solidFill>
          <a:ln>
            <a:solidFill>
              <a:schemeClr val="accent2">
                <a:lumMod val="75000"/>
                <a:alpha val="0"/>
              </a:schemeClr>
            </a:solid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22D4CB14-B4F3-DD8C-3B13-C544B3058833}"/>
              </a:ext>
            </a:extLst>
          </p:cNvPr>
          <p:cNvSpPr txBox="1"/>
          <p:nvPr/>
        </p:nvSpPr>
        <p:spPr>
          <a:xfrm>
            <a:off x="2851484" y="6524664"/>
            <a:ext cx="5558105" cy="305926"/>
          </a:xfrm>
          <a:prstGeom prst="rect">
            <a:avLst/>
          </a:prstGeom>
          <a:solidFill>
            <a:schemeClr val="accent1">
              <a:lumMod val="60000"/>
              <a:lumOff val="40000"/>
              <a:alpha val="18000"/>
            </a:schemeClr>
          </a:solidFill>
          <a:ln>
            <a:solidFill>
              <a:schemeClr val="accent2">
                <a:lumMod val="75000"/>
                <a:alpha val="0"/>
              </a:schemeClr>
            </a:solid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B19427CF-C5E5-4A8A-4CE0-1FA0F1562634}"/>
              </a:ext>
            </a:extLst>
          </p:cNvPr>
          <p:cNvSpPr txBox="1"/>
          <p:nvPr/>
        </p:nvSpPr>
        <p:spPr>
          <a:xfrm>
            <a:off x="7528477" y="6524678"/>
            <a:ext cx="1074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B.1A.5a</a:t>
            </a:r>
          </a:p>
        </p:txBody>
      </p:sp>
      <p:sp>
        <p:nvSpPr>
          <p:cNvPr id="45" name="Rectangle 44">
            <a:extLst>
              <a:ext uri="{FF2B5EF4-FFF2-40B4-BE49-F238E27FC236}">
                <a16:creationId xmlns:a16="http://schemas.microsoft.com/office/drawing/2014/main" id="{12EEF15F-0159-04A6-0436-BEFFD18EBFB3}"/>
              </a:ext>
            </a:extLst>
          </p:cNvPr>
          <p:cNvSpPr/>
          <p:nvPr/>
        </p:nvSpPr>
        <p:spPr>
          <a:xfrm>
            <a:off x="8901933" y="3714578"/>
            <a:ext cx="413947" cy="45719"/>
          </a:xfrm>
          <a:prstGeom prst="rect">
            <a:avLst/>
          </a:prstGeom>
          <a:noFill/>
          <a:ln w="19050" cap="flat" cmpd="sng" algn="ctr">
            <a:solidFill>
              <a:schemeClr val="bg2">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A38BD5F3-CB40-07F2-0342-EBD519D5A31E}"/>
              </a:ext>
            </a:extLst>
          </p:cNvPr>
          <p:cNvSpPr/>
          <p:nvPr/>
        </p:nvSpPr>
        <p:spPr>
          <a:xfrm>
            <a:off x="11068945" y="5269445"/>
            <a:ext cx="413947" cy="91129"/>
          </a:xfrm>
          <a:prstGeom prst="rect">
            <a:avLst/>
          </a:prstGeom>
          <a:noFill/>
          <a:ln w="19050" cap="flat" cmpd="sng" algn="ctr">
            <a:solidFill>
              <a:schemeClr val="bg2">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D77BD69F-EB64-EB81-1B6C-4DB9C3AE4CC3}"/>
              </a:ext>
            </a:extLst>
          </p:cNvPr>
          <p:cNvSpPr txBox="1"/>
          <p:nvPr/>
        </p:nvSpPr>
        <p:spPr>
          <a:xfrm>
            <a:off x="11486476" y="5022314"/>
            <a:ext cx="792838"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2024 Vaccine strain</a:t>
            </a:r>
          </a:p>
        </p:txBody>
      </p:sp>
      <p:sp>
        <p:nvSpPr>
          <p:cNvPr id="26" name="TextBox 25">
            <a:extLst>
              <a:ext uri="{FF2B5EF4-FFF2-40B4-BE49-F238E27FC236}">
                <a16:creationId xmlns:a16="http://schemas.microsoft.com/office/drawing/2014/main" id="{D77BD69F-EB64-EB81-1B6C-4DB9C3AE4CC3}"/>
              </a:ext>
            </a:extLst>
          </p:cNvPr>
          <p:cNvSpPr txBox="1"/>
          <p:nvPr/>
        </p:nvSpPr>
        <p:spPr>
          <a:xfrm>
            <a:off x="11006943" y="5669527"/>
            <a:ext cx="928096" cy="577081"/>
          </a:xfrm>
          <a:prstGeom prst="rect">
            <a:avLst/>
          </a:prstGeom>
          <a:noFill/>
          <a:ln>
            <a:solidFill>
              <a:schemeClr val="bg1">
                <a:lumMod val="6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Global reference sequences</a:t>
            </a:r>
          </a:p>
        </p:txBody>
      </p:sp>
      <p:sp>
        <p:nvSpPr>
          <p:cNvPr id="43" name="TextBox 42">
            <a:extLst>
              <a:ext uri="{FF2B5EF4-FFF2-40B4-BE49-F238E27FC236}">
                <a16:creationId xmlns:a16="http://schemas.microsoft.com/office/drawing/2014/main" id="{274C03B9-AF78-4F80-5B56-B04EE3E84730}"/>
              </a:ext>
            </a:extLst>
          </p:cNvPr>
          <p:cNvSpPr txBox="1"/>
          <p:nvPr/>
        </p:nvSpPr>
        <p:spPr>
          <a:xfrm>
            <a:off x="7908363" y="2531362"/>
            <a:ext cx="678952"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T120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K169Q</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B7220E8F-B6C8-BF88-7C96-3EDA5FF7D3A5}"/>
              </a:ext>
            </a:extLst>
          </p:cNvPr>
          <p:cNvSpPr/>
          <p:nvPr/>
        </p:nvSpPr>
        <p:spPr>
          <a:xfrm>
            <a:off x="8645355" y="4152878"/>
            <a:ext cx="2402221" cy="62185"/>
          </a:xfrm>
          <a:prstGeom prst="rect">
            <a:avLst/>
          </a:prstGeom>
          <a:solidFill>
            <a:schemeClr val="bg1"/>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4C3EB70B-21A9-3EDE-3D26-90CB18B1516B}"/>
              </a:ext>
            </a:extLst>
          </p:cNvPr>
          <p:cNvSpPr txBox="1"/>
          <p:nvPr/>
        </p:nvSpPr>
        <p:spPr>
          <a:xfrm>
            <a:off x="7251897" y="3227368"/>
            <a:ext cx="3087522" cy="1342293"/>
          </a:xfrm>
          <a:prstGeom prst="rect">
            <a:avLst/>
          </a:prstGeom>
          <a:solidFill>
            <a:schemeClr val="accent6">
              <a:lumMod val="40000"/>
              <a:lumOff val="60000"/>
              <a:alpha val="17218"/>
            </a:schemeClr>
          </a:solidFill>
          <a:ln>
            <a:solidFill>
              <a:schemeClr val="accent2">
                <a:lumMod val="75000"/>
                <a:alpha val="0"/>
              </a:schemeClr>
            </a:solid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E84E5D5-4EFD-CE5F-C3B8-66E87D7202C2}"/>
              </a:ext>
            </a:extLst>
          </p:cNvPr>
          <p:cNvSpPr txBox="1"/>
          <p:nvPr/>
        </p:nvSpPr>
        <p:spPr>
          <a:xfrm>
            <a:off x="11045297" y="3383804"/>
            <a:ext cx="792838" cy="25391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1ECC8DCB-A6D9-8B04-7BD1-1AC4FD8C9F83}"/>
              </a:ext>
            </a:extLst>
          </p:cNvPr>
          <p:cNvPicPr>
            <a:picLocks noChangeAspect="1"/>
          </p:cNvPicPr>
          <p:nvPr/>
        </p:nvPicPr>
        <p:blipFill>
          <a:blip r:embed="rId4"/>
          <a:stretch>
            <a:fillRect/>
          </a:stretch>
        </p:blipFill>
        <p:spPr>
          <a:xfrm>
            <a:off x="11238400" y="3361217"/>
            <a:ext cx="751055" cy="1169168"/>
          </a:xfrm>
          <a:prstGeom prst="rect">
            <a:avLst/>
          </a:prstGeom>
        </p:spPr>
      </p:pic>
      <p:sp>
        <p:nvSpPr>
          <p:cNvPr id="17" name="TextBox 16">
            <a:extLst>
              <a:ext uri="{FF2B5EF4-FFF2-40B4-BE49-F238E27FC236}">
                <a16:creationId xmlns:a16="http://schemas.microsoft.com/office/drawing/2014/main" id="{024A6B1E-5B42-CFC4-5D09-83A0E93B0559}"/>
              </a:ext>
            </a:extLst>
          </p:cNvPr>
          <p:cNvSpPr txBox="1"/>
          <p:nvPr/>
        </p:nvSpPr>
        <p:spPr>
          <a:xfrm>
            <a:off x="11303727" y="3094822"/>
            <a:ext cx="79283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ar</a:t>
            </a:r>
          </a:p>
        </p:txBody>
      </p:sp>
      <p:sp>
        <p:nvSpPr>
          <p:cNvPr id="24" name="TextBox 23"/>
          <p:cNvSpPr txBox="1"/>
          <p:nvPr/>
        </p:nvSpPr>
        <p:spPr>
          <a:xfrm>
            <a:off x="0" y="520812"/>
            <a:ext cx="4863448" cy="1384995"/>
          </a:xfrm>
          <a:prstGeom prst="rect">
            <a:avLst/>
          </a:prstGeom>
          <a:noFill/>
        </p:spPr>
        <p:txBody>
          <a:bodyPr wrap="square" rtlCol="0">
            <a:spAutoFit/>
          </a:bodyPr>
          <a:lstStyle/>
          <a:p>
            <a:r>
              <a:rPr lang="en-ZA" sz="2800" dirty="0">
                <a:solidFill>
                  <a:schemeClr val="bg2">
                    <a:lumMod val="10000"/>
                  </a:schemeClr>
                </a:solidFill>
                <a:effectLst>
                  <a:outerShdw blurRad="38100" dist="38100" dir="2700000" algn="tl">
                    <a:srgbClr val="000000">
                      <a:alpha val="43137"/>
                    </a:srgbClr>
                  </a:outerShdw>
                </a:effectLst>
                <a:latin typeface="+mj-lt"/>
              </a:rPr>
              <a:t>Influenza virus – monitor viral evolution and update vaccines as needed</a:t>
            </a: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2753" y="4057385"/>
            <a:ext cx="3440791" cy="1801876"/>
          </a:xfrm>
          <a:prstGeom prst="rect">
            <a:avLst/>
          </a:prstGeom>
        </p:spPr>
      </p:pic>
    </p:spTree>
    <p:extLst>
      <p:ext uri="{BB962C8B-B14F-4D97-AF65-F5344CB8AC3E}">
        <p14:creationId xmlns:p14="http://schemas.microsoft.com/office/powerpoint/2010/main" val="33916059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AD5E123-F3EE-472B-AE2B-7360E7BD6EDB}"/>
              </a:ext>
            </a:extLst>
          </p:cNvPr>
          <p:cNvSpPr/>
          <p:nvPr/>
        </p:nvSpPr>
        <p:spPr>
          <a:xfrm>
            <a:off x="358063" y="309484"/>
            <a:ext cx="11404849" cy="830997"/>
          </a:xfrm>
          <a:prstGeom prst="rect">
            <a:avLst/>
          </a:prstGeom>
        </p:spPr>
        <p:txBody>
          <a:bodyPr wrap="square">
            <a:spAutoFit/>
          </a:bodyPr>
          <a:lstStyle/>
          <a:p>
            <a:pPr algn="ctr"/>
            <a:r>
              <a:rPr lang="en-GB" sz="2400" dirty="0">
                <a:latin typeface="Calibri Light" panose="020F0302020204030204" pitchFamily="34" charset="0"/>
                <a:ea typeface="Times" panose="02020603050405020304" pitchFamily="18" charset="0"/>
                <a:cs typeface="Calibri Light" panose="020F0302020204030204" pitchFamily="34" charset="0"/>
              </a:rPr>
              <a:t>Number and cumulative number of </a:t>
            </a:r>
            <a:r>
              <a:rPr lang="en-GB" sz="2400" b="1" dirty="0">
                <a:solidFill>
                  <a:schemeClr val="bg2">
                    <a:lumMod val="10000"/>
                  </a:schemeClr>
                </a:solidFill>
                <a:latin typeface="Calibri Light" panose="020F0302020204030204" pitchFamily="34" charset="0"/>
                <a:ea typeface="Times" panose="02020603050405020304" pitchFamily="18" charset="0"/>
                <a:cs typeface="Calibri Light" panose="020F0302020204030204" pitchFamily="34" charset="0"/>
              </a:rPr>
              <a:t>laboratory-confirmed cases </a:t>
            </a:r>
            <a:r>
              <a:rPr lang="en-GB" sz="2400" dirty="0">
                <a:latin typeface="Calibri Light" panose="020F0302020204030204" pitchFamily="34" charset="0"/>
                <a:ea typeface="Times" panose="02020603050405020304" pitchFamily="18" charset="0"/>
                <a:cs typeface="Calibri Light" panose="020F0302020204030204" pitchFamily="34" charset="0"/>
              </a:rPr>
              <a:t>of COVID-19, by date of specimen collection, South Africa, 3 March 2020 – 19 November 2022 </a:t>
            </a:r>
            <a:r>
              <a:rPr lang="en-GB" sz="2400" dirty="0">
                <a:solidFill>
                  <a:schemeClr val="bg2">
                    <a:lumMod val="10000"/>
                  </a:schemeClr>
                </a:solidFill>
                <a:latin typeface="Calibri Light" panose="020F0302020204030204" pitchFamily="34" charset="0"/>
                <a:ea typeface="Times" panose="02020603050405020304" pitchFamily="18" charset="0"/>
                <a:cs typeface="Calibri Light" panose="020F0302020204030204" pitchFamily="34" charset="0"/>
              </a:rPr>
              <a:t>(n= 4 038 051)</a:t>
            </a:r>
            <a:r>
              <a:rPr lang="en-ZA" sz="2400" dirty="0">
                <a:latin typeface="Century Gothic" panose="020B0502020202020204" pitchFamily="34" charset="0"/>
                <a:ea typeface="Times" panose="02020603050405020304" pitchFamily="18" charset="0"/>
                <a:cs typeface="Times New Roman" panose="02020603050405020304" pitchFamily="18" charset="0"/>
              </a:rPr>
              <a:t>	</a:t>
            </a:r>
            <a:endParaRPr lang="en-ZA" sz="2400" dirty="0"/>
          </a:p>
        </p:txBody>
      </p:sp>
      <p:graphicFrame>
        <p:nvGraphicFramePr>
          <p:cNvPr id="5" name="Chart 4">
            <a:extLst>
              <a:ext uri="{FF2B5EF4-FFF2-40B4-BE49-F238E27FC236}">
                <a16:creationId xmlns:a16="http://schemas.microsoft.com/office/drawing/2014/main" id="{19A42DB3-9294-4780-8E2D-802AA4FC9F5F}"/>
              </a:ext>
            </a:extLst>
          </p:cNvPr>
          <p:cNvGraphicFramePr/>
          <p:nvPr>
            <p:extLst>
              <p:ext uri="{D42A27DB-BD31-4B8C-83A1-F6EECF244321}">
                <p14:modId xmlns:p14="http://schemas.microsoft.com/office/powerpoint/2010/main" val="3700608806"/>
              </p:ext>
            </p:extLst>
          </p:nvPr>
        </p:nvGraphicFramePr>
        <p:xfrm>
          <a:off x="753502" y="1509204"/>
          <a:ext cx="10613972" cy="484887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1544714" y="3195961"/>
            <a:ext cx="2192784" cy="338554"/>
          </a:xfrm>
          <a:prstGeom prst="rect">
            <a:avLst/>
          </a:prstGeom>
          <a:noFill/>
        </p:spPr>
        <p:txBody>
          <a:bodyPr wrap="square" rtlCol="0">
            <a:spAutoFit/>
          </a:bodyPr>
          <a:lstStyle/>
          <a:p>
            <a:pPr algn="ctr"/>
            <a:r>
              <a:rPr lang="en-ZA" sz="1600" dirty="0" err="1"/>
              <a:t>Wildtype</a:t>
            </a:r>
            <a:r>
              <a:rPr lang="en-ZA" sz="1600" dirty="0"/>
              <a:t>/Wuhan</a:t>
            </a:r>
          </a:p>
        </p:txBody>
      </p:sp>
      <p:sp>
        <p:nvSpPr>
          <p:cNvPr id="3" name="TextBox 2"/>
          <p:cNvSpPr txBox="1"/>
          <p:nvPr/>
        </p:nvSpPr>
        <p:spPr>
          <a:xfrm>
            <a:off x="3595456" y="1789734"/>
            <a:ext cx="1225118" cy="369332"/>
          </a:xfrm>
          <a:prstGeom prst="rect">
            <a:avLst/>
          </a:prstGeom>
          <a:noFill/>
        </p:spPr>
        <p:txBody>
          <a:bodyPr wrap="square" rtlCol="0">
            <a:spAutoFit/>
          </a:bodyPr>
          <a:lstStyle/>
          <a:p>
            <a:pPr algn="ctr"/>
            <a:r>
              <a:rPr lang="en-ZA" dirty="0"/>
              <a:t>Beta</a:t>
            </a:r>
          </a:p>
        </p:txBody>
      </p:sp>
      <p:sp>
        <p:nvSpPr>
          <p:cNvPr id="6" name="TextBox 5"/>
          <p:cNvSpPr txBox="1"/>
          <p:nvPr/>
        </p:nvSpPr>
        <p:spPr>
          <a:xfrm>
            <a:off x="5269445" y="1789734"/>
            <a:ext cx="1225118" cy="369332"/>
          </a:xfrm>
          <a:prstGeom prst="rect">
            <a:avLst/>
          </a:prstGeom>
          <a:noFill/>
        </p:spPr>
        <p:txBody>
          <a:bodyPr wrap="square" rtlCol="0">
            <a:spAutoFit/>
          </a:bodyPr>
          <a:lstStyle/>
          <a:p>
            <a:pPr algn="ctr"/>
            <a:r>
              <a:rPr lang="en-ZA" dirty="0"/>
              <a:t>Delta</a:t>
            </a:r>
          </a:p>
        </p:txBody>
      </p:sp>
      <p:sp>
        <p:nvSpPr>
          <p:cNvPr id="7" name="TextBox 6"/>
          <p:cNvSpPr txBox="1"/>
          <p:nvPr/>
        </p:nvSpPr>
        <p:spPr>
          <a:xfrm>
            <a:off x="6494563" y="1780856"/>
            <a:ext cx="2198703" cy="369332"/>
          </a:xfrm>
          <a:prstGeom prst="rect">
            <a:avLst/>
          </a:prstGeom>
          <a:noFill/>
        </p:spPr>
        <p:txBody>
          <a:bodyPr wrap="square" rtlCol="0">
            <a:spAutoFit/>
          </a:bodyPr>
          <a:lstStyle/>
          <a:p>
            <a:pPr algn="ctr"/>
            <a:r>
              <a:rPr lang="en-ZA" dirty="0"/>
              <a:t>Omicron BA.1/2</a:t>
            </a:r>
          </a:p>
        </p:txBody>
      </p:sp>
      <p:sp>
        <p:nvSpPr>
          <p:cNvPr id="8" name="TextBox 7"/>
          <p:cNvSpPr txBox="1"/>
          <p:nvPr/>
        </p:nvSpPr>
        <p:spPr>
          <a:xfrm>
            <a:off x="7807909" y="3884800"/>
            <a:ext cx="2374777" cy="369332"/>
          </a:xfrm>
          <a:prstGeom prst="rect">
            <a:avLst/>
          </a:prstGeom>
          <a:noFill/>
        </p:spPr>
        <p:txBody>
          <a:bodyPr wrap="square" rtlCol="0">
            <a:spAutoFit/>
          </a:bodyPr>
          <a:lstStyle/>
          <a:p>
            <a:pPr algn="ctr"/>
            <a:r>
              <a:rPr lang="en-ZA" dirty="0"/>
              <a:t>Omicron BA.4/5</a:t>
            </a:r>
          </a:p>
        </p:txBody>
      </p:sp>
    </p:spTree>
    <p:extLst>
      <p:ext uri="{BB962C8B-B14F-4D97-AF65-F5344CB8AC3E}">
        <p14:creationId xmlns:p14="http://schemas.microsoft.com/office/powerpoint/2010/main" val="21488849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6"/>
          <p:cNvSpPr txBox="1">
            <a:spLocks noChangeArrowheads="1"/>
          </p:cNvSpPr>
          <p:nvPr/>
        </p:nvSpPr>
        <p:spPr bwMode="auto">
          <a:xfrm>
            <a:off x="2262577" y="320211"/>
            <a:ext cx="585948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lang="en-US" altLang="en-US" sz="3200" dirty="0">
                <a:latin typeface="+mj-lt"/>
              </a:rPr>
              <a:t>GERMS</a:t>
            </a:r>
            <a:endParaRPr kumimoji="0" lang="en-ZA" altLang="en-US" sz="3200" i="0" u="none" strike="noStrike" kern="1200" cap="none" spc="0" normalizeH="0" baseline="0" noProof="0" dirty="0">
              <a:ln>
                <a:noFill/>
              </a:ln>
              <a:effectLst/>
              <a:uLnTx/>
              <a:uFillTx/>
              <a:latin typeface="+mj-lt"/>
            </a:endParaRPr>
          </a:p>
        </p:txBody>
      </p:sp>
      <p:sp>
        <p:nvSpPr>
          <p:cNvPr id="8" name="TextBox 7"/>
          <p:cNvSpPr txBox="1"/>
          <p:nvPr/>
        </p:nvSpPr>
        <p:spPr>
          <a:xfrm>
            <a:off x="730216" y="1166243"/>
            <a:ext cx="10301591" cy="4662815"/>
          </a:xfrm>
          <a:prstGeom prst="rect">
            <a:avLst/>
          </a:prstGeom>
          <a:noFill/>
        </p:spPr>
        <p:txBody>
          <a:bodyPr wrap="square">
            <a:spAutoFit/>
          </a:bodyPr>
          <a:lstStyle/>
          <a:p>
            <a:pPr marL="285750" lvl="0" indent="-285750">
              <a:lnSpc>
                <a:spcPct val="150000"/>
              </a:lnSpc>
              <a:buFont typeface="Arial" panose="020B0604020202020204" pitchFamily="34" charset="0"/>
              <a:buChar char="•"/>
            </a:pPr>
            <a:r>
              <a:rPr kumimoji="0" lang="en-GB" sz="2200" b="0" i="0" u="none" strike="noStrike" kern="1200" cap="none" spc="0" normalizeH="0" baseline="0" noProof="0" dirty="0">
                <a:ln>
                  <a:noFill/>
                </a:ln>
                <a:effectLst/>
                <a:uLnTx/>
                <a:uFillTx/>
                <a:latin typeface="+mj-lt"/>
              </a:rPr>
              <a:t>National, laboratory-based surveillance </a:t>
            </a:r>
          </a:p>
          <a:p>
            <a:pPr marL="285750" lvl="0" indent="-285750">
              <a:lnSpc>
                <a:spcPct val="150000"/>
              </a:lnSpc>
              <a:buFont typeface="Arial" panose="020B0604020202020204" pitchFamily="34" charset="0"/>
              <a:buChar char="•"/>
            </a:pPr>
            <a:r>
              <a:rPr kumimoji="0" lang="en-GB" sz="2200" b="0" i="1" u="none" strike="noStrike" kern="1200" cap="none" spc="0" normalizeH="0" baseline="0" noProof="0" dirty="0">
                <a:ln>
                  <a:noFill/>
                </a:ln>
                <a:effectLst/>
                <a:uLnTx/>
                <a:uFillTx/>
                <a:latin typeface="+mj-lt"/>
              </a:rPr>
              <a:t>H. influenzae, N. meningitidis, S. pneumoniae, S. agalactiae </a:t>
            </a:r>
            <a:r>
              <a:rPr kumimoji="0" lang="en-GB" sz="2200" b="0" i="0" u="none" strike="noStrike" kern="1200" cap="none" spc="0" normalizeH="0" baseline="0" noProof="0" dirty="0">
                <a:ln>
                  <a:noFill/>
                </a:ln>
                <a:effectLst/>
                <a:uLnTx/>
                <a:uFillTx/>
                <a:latin typeface="+mj-lt"/>
              </a:rPr>
              <a:t>(GBS)</a:t>
            </a:r>
            <a:r>
              <a:rPr kumimoji="0" lang="en-GB" sz="2200" b="0" i="1" u="none" strike="noStrike" kern="1200" cap="none" spc="0" normalizeH="0" baseline="0" noProof="0" dirty="0">
                <a:ln>
                  <a:noFill/>
                </a:ln>
                <a:effectLst/>
                <a:uLnTx/>
                <a:uFillTx/>
                <a:latin typeface="+mj-lt"/>
              </a:rPr>
              <a:t>, S. </a:t>
            </a:r>
            <a:r>
              <a:rPr kumimoji="0" lang="en-GB" sz="2200" b="0" i="1" u="none" strike="noStrike" kern="1200" cap="none" spc="0" normalizeH="0" baseline="0" noProof="0" dirty="0" err="1">
                <a:ln>
                  <a:noFill/>
                </a:ln>
                <a:effectLst/>
                <a:uLnTx/>
                <a:uFillTx/>
                <a:latin typeface="+mj-lt"/>
              </a:rPr>
              <a:t>pyogenes</a:t>
            </a:r>
            <a:r>
              <a:rPr kumimoji="0" lang="en-GB" sz="2200" b="0" i="1" u="none" strike="noStrike" kern="1200" cap="none" spc="0" normalizeH="0" baseline="0" noProof="0" dirty="0">
                <a:ln>
                  <a:noFill/>
                </a:ln>
                <a:effectLst/>
                <a:uLnTx/>
                <a:uFillTx/>
                <a:latin typeface="+mj-lt"/>
              </a:rPr>
              <a:t> </a:t>
            </a:r>
            <a:r>
              <a:rPr kumimoji="0" lang="en-GB" sz="2200" b="0" i="0" u="none" strike="noStrike" kern="1200" cap="none" spc="0" normalizeH="0" baseline="0" noProof="0" dirty="0">
                <a:ln>
                  <a:noFill/>
                </a:ln>
                <a:effectLst/>
                <a:uLnTx/>
                <a:uFillTx/>
                <a:latin typeface="+mj-lt"/>
              </a:rPr>
              <a:t>(GAS)</a:t>
            </a:r>
            <a:r>
              <a:rPr lang="en-US" sz="2200" dirty="0">
                <a:latin typeface="+mj-lt"/>
              </a:rPr>
              <a:t> </a:t>
            </a:r>
          </a:p>
          <a:p>
            <a:pPr marL="285750" lvl="0" indent="-285750">
              <a:lnSpc>
                <a:spcPct val="150000"/>
              </a:lnSpc>
              <a:buFont typeface="Arial" panose="020B0604020202020204" pitchFamily="34" charset="0"/>
              <a:buChar char="•"/>
            </a:pPr>
            <a:r>
              <a:rPr lang="en-US" sz="2200" dirty="0">
                <a:latin typeface="+mj-lt"/>
              </a:rPr>
              <a:t>Normally-sterile site specimens (e.g. CSF and blood) and isolates</a:t>
            </a:r>
            <a:endParaRPr kumimoji="0" lang="en-GB" sz="2200" b="0" i="0" u="none" strike="noStrike" kern="1200" cap="none" spc="0" normalizeH="0" baseline="0" noProof="0" dirty="0">
              <a:ln>
                <a:noFill/>
              </a:ln>
              <a:effectLst/>
              <a:uLnTx/>
              <a:uFillTx/>
              <a:latin typeface="+mj-lt"/>
            </a:endParaRPr>
          </a:p>
          <a:p>
            <a:pPr marL="285750" indent="-285750">
              <a:lnSpc>
                <a:spcPct val="150000"/>
              </a:lnSpc>
              <a:buFont typeface="Arial" panose="020B0604020202020204" pitchFamily="34" charset="0"/>
              <a:buChar char="•"/>
            </a:pPr>
            <a:r>
              <a:rPr kumimoji="0" lang="en-GB" sz="2200" b="0" i="0" u="none" strike="noStrike" kern="1200" cap="none" spc="0" normalizeH="0" baseline="0" noProof="0" dirty="0">
                <a:ln>
                  <a:noFill/>
                </a:ln>
                <a:effectLst/>
                <a:uLnTx/>
                <a:uFillTx/>
                <a:latin typeface="+mj-lt"/>
              </a:rPr>
              <a:t>Organism identification and serotyping/grouping using phenotypic and genotypic methods </a:t>
            </a:r>
          </a:p>
          <a:p>
            <a:pPr marL="285750" indent="-285750">
              <a:lnSpc>
                <a:spcPct val="150000"/>
              </a:lnSpc>
              <a:buFont typeface="Arial" panose="020B0604020202020204" pitchFamily="34" charset="0"/>
              <a:buChar char="•"/>
            </a:pPr>
            <a:r>
              <a:rPr kumimoji="0" lang="en-GB" sz="2200" b="0" i="0" u="none" strike="noStrike" kern="1200" cap="none" spc="0" normalizeH="0" baseline="0" noProof="0" dirty="0">
                <a:ln>
                  <a:noFill/>
                </a:ln>
                <a:effectLst/>
                <a:uLnTx/>
                <a:uFillTx/>
                <a:latin typeface="+mj-lt"/>
              </a:rPr>
              <a:t>Antimicrobial susceptibility testing</a:t>
            </a:r>
          </a:p>
          <a:p>
            <a:pPr marL="285750" indent="-285750">
              <a:lnSpc>
                <a:spcPct val="150000"/>
              </a:lnSpc>
              <a:buFont typeface="Arial" panose="020B0604020202020204" pitchFamily="34" charset="0"/>
              <a:buChar char="•"/>
            </a:pPr>
            <a:r>
              <a:rPr kumimoji="0" lang="en-GB" sz="2200" b="0" i="0" u="none" strike="noStrike" kern="1200" cap="none" spc="0" normalizeH="0" baseline="0" noProof="0" dirty="0">
                <a:ln>
                  <a:noFill/>
                </a:ln>
                <a:effectLst/>
                <a:uLnTx/>
                <a:uFillTx/>
                <a:latin typeface="+mj-lt"/>
              </a:rPr>
              <a:t>Genomic surveillance </a:t>
            </a:r>
          </a:p>
          <a:p>
            <a:pPr marL="742950" lvl="1" indent="-285750">
              <a:lnSpc>
                <a:spcPct val="150000"/>
              </a:lnSpc>
              <a:buFont typeface="Arial" panose="020B0604020202020204" pitchFamily="34" charset="0"/>
              <a:buChar char="•"/>
            </a:pPr>
            <a:r>
              <a:rPr lang="en-GB" sz="2200" dirty="0">
                <a:latin typeface="+mj-lt"/>
              </a:rPr>
              <a:t>T</a:t>
            </a:r>
            <a:r>
              <a:rPr kumimoji="0" lang="en-GB" sz="2200" b="0" i="0" u="none" strike="noStrike" kern="1200" cap="none" spc="0" normalizeH="0" baseline="0" noProof="0" dirty="0">
                <a:ln>
                  <a:noFill/>
                </a:ln>
                <a:effectLst/>
                <a:uLnTx/>
                <a:uFillTx/>
                <a:latin typeface="+mj-lt"/>
              </a:rPr>
              <a:t>racking of lineages (including drug-resistant lineages and resistance determinants)</a:t>
            </a:r>
          </a:p>
          <a:p>
            <a:pPr marL="742950" lvl="1" indent="-285750">
              <a:lnSpc>
                <a:spcPct val="150000"/>
              </a:lnSpc>
              <a:buFont typeface="Arial" panose="020B0604020202020204" pitchFamily="34" charset="0"/>
              <a:buChar char="•"/>
            </a:pPr>
            <a:r>
              <a:rPr kumimoji="0" lang="en-GB" sz="2200" b="0" i="0" u="none" strike="noStrike" kern="1200" cap="none" spc="0" normalizeH="0" baseline="0" noProof="0" dirty="0">
                <a:ln>
                  <a:noFill/>
                </a:ln>
                <a:effectLst/>
                <a:uLnTx/>
                <a:uFillTx/>
                <a:latin typeface="+mj-lt"/>
              </a:rPr>
              <a:t>Expansion or emergence of non-vaccine serotypes that are drug resistant</a:t>
            </a:r>
          </a:p>
        </p:txBody>
      </p:sp>
    </p:spTree>
    <p:extLst>
      <p:ext uri="{BB962C8B-B14F-4D97-AF65-F5344CB8AC3E}">
        <p14:creationId xmlns:p14="http://schemas.microsoft.com/office/powerpoint/2010/main" val="37928364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579" y="174206"/>
            <a:ext cx="11950840" cy="1325563"/>
          </a:xfrm>
        </p:spPr>
        <p:txBody>
          <a:bodyPr/>
          <a:lstStyle/>
          <a:p>
            <a:r>
              <a:rPr lang="en-US" sz="2400" dirty="0">
                <a:solidFill>
                  <a:prstClr val="black"/>
                </a:solidFill>
                <a:latin typeface="Calibri Light" panose="020F0302020204030204" pitchFamily="34" charset="0"/>
                <a:ea typeface="Times" panose="02020603050405020304" pitchFamily="18" charset="0"/>
                <a:cs typeface="Calibri Light" panose="020F0302020204030204" pitchFamily="34" charset="0"/>
              </a:rPr>
              <a:t>Incidence of invasive pneumococcal disease (IPD) reported by year and age group, and the insert graph excluding children younger than 2 years, in South Africa in 2005–19</a:t>
            </a:r>
            <a:endParaRPr lang="en-ZA" dirty="0"/>
          </a:p>
        </p:txBody>
      </p:sp>
      <p:pic>
        <p:nvPicPr>
          <p:cNvPr id="4" name="Picture 3"/>
          <p:cNvPicPr>
            <a:picLocks noChangeAspect="1"/>
          </p:cNvPicPr>
          <p:nvPr/>
        </p:nvPicPr>
        <p:blipFill>
          <a:blip r:embed="rId2"/>
          <a:stretch>
            <a:fillRect/>
          </a:stretch>
        </p:blipFill>
        <p:spPr>
          <a:xfrm>
            <a:off x="213481" y="1841413"/>
            <a:ext cx="7805101" cy="4277796"/>
          </a:xfrm>
          <a:prstGeom prst="rect">
            <a:avLst/>
          </a:prstGeom>
        </p:spPr>
      </p:pic>
      <p:sp>
        <p:nvSpPr>
          <p:cNvPr id="7" name="TextBox 6"/>
          <p:cNvSpPr txBox="1"/>
          <p:nvPr/>
        </p:nvSpPr>
        <p:spPr>
          <a:xfrm flipH="1">
            <a:off x="8032422" y="1680639"/>
            <a:ext cx="4052835"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mj-lt"/>
              </a:rPr>
              <a:t>Decline in IPD following PCV7 (2009) and PCV13 (2011) implementation, especially among children younger than 2 years</a:t>
            </a:r>
          </a:p>
          <a:p>
            <a:pPr marL="285750" indent="-285750">
              <a:buFont typeface="Arial" panose="020B0604020202020204" pitchFamily="34" charset="0"/>
              <a:buChar char="•"/>
            </a:pPr>
            <a:r>
              <a:rPr lang="en-US" sz="1600" dirty="0">
                <a:latin typeface="+mj-lt"/>
              </a:rPr>
              <a:t>Decline among other age groups due to herd effect</a:t>
            </a:r>
          </a:p>
          <a:p>
            <a:pPr marL="285750" indent="-285750">
              <a:buFont typeface="Arial" panose="020B0604020202020204" pitchFamily="34" charset="0"/>
              <a:buChar char="•"/>
            </a:pPr>
            <a:r>
              <a:rPr lang="en-US" sz="1600" dirty="0">
                <a:latin typeface="+mj-lt"/>
              </a:rPr>
              <a:t>Increase in some non-PCV serotypes lead by serotype 8   </a:t>
            </a:r>
            <a:endParaRPr lang="en-ZA" sz="1600" dirty="0">
              <a:latin typeface="+mj-lt"/>
            </a:endParaRPr>
          </a:p>
        </p:txBody>
      </p:sp>
      <p:pic>
        <p:nvPicPr>
          <p:cNvPr id="8" name="Picture 7"/>
          <p:cNvPicPr>
            <a:picLocks noChangeAspect="1"/>
          </p:cNvPicPr>
          <p:nvPr/>
        </p:nvPicPr>
        <p:blipFill>
          <a:blip r:embed="rId3"/>
          <a:stretch>
            <a:fillRect/>
          </a:stretch>
        </p:blipFill>
        <p:spPr>
          <a:xfrm>
            <a:off x="7925680" y="3799135"/>
            <a:ext cx="4266320" cy="2411026"/>
          </a:xfrm>
          <a:prstGeom prst="rect">
            <a:avLst/>
          </a:prstGeom>
        </p:spPr>
      </p:pic>
    </p:spTree>
    <p:extLst>
      <p:ext uri="{BB962C8B-B14F-4D97-AF65-F5344CB8AC3E}">
        <p14:creationId xmlns:p14="http://schemas.microsoft.com/office/powerpoint/2010/main" val="23523477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20579" y="1509817"/>
            <a:ext cx="8375763" cy="5312843"/>
          </a:xfrm>
          <a:prstGeom prst="rect">
            <a:avLst/>
          </a:prstGeom>
        </p:spPr>
      </p:pic>
      <p:sp>
        <p:nvSpPr>
          <p:cNvPr id="5" name="Title 1"/>
          <p:cNvSpPr>
            <a:spLocks noGrp="1"/>
          </p:cNvSpPr>
          <p:nvPr>
            <p:ph type="title"/>
          </p:nvPr>
        </p:nvSpPr>
        <p:spPr>
          <a:xfrm>
            <a:off x="120579" y="174206"/>
            <a:ext cx="11950840" cy="1325563"/>
          </a:xfrm>
        </p:spPr>
        <p:txBody>
          <a:bodyPr/>
          <a:lstStyle/>
          <a:p>
            <a:r>
              <a:rPr lang="en-US" sz="2400" dirty="0">
                <a:solidFill>
                  <a:prstClr val="black"/>
                </a:solidFill>
                <a:latin typeface="Calibri Light" panose="020F0302020204030204" pitchFamily="34" charset="0"/>
                <a:ea typeface="Times" panose="02020603050405020304" pitchFamily="18" charset="0"/>
                <a:cs typeface="Calibri Light" panose="020F0302020204030204" pitchFamily="34" charset="0"/>
              </a:rPr>
              <a:t>Incidence of serotype 8 invasive pneumococcal disease reported by year, and by age group, in South Africa, 2005 through 2020 </a:t>
            </a:r>
            <a:endParaRPr lang="en-ZA" dirty="0"/>
          </a:p>
        </p:txBody>
      </p:sp>
      <p:sp>
        <p:nvSpPr>
          <p:cNvPr id="2" name="Rectangle 1"/>
          <p:cNvSpPr/>
          <p:nvPr/>
        </p:nvSpPr>
        <p:spPr>
          <a:xfrm>
            <a:off x="8825801" y="2098821"/>
            <a:ext cx="3245618" cy="646331"/>
          </a:xfrm>
          <a:prstGeom prst="rect">
            <a:avLst/>
          </a:prstGeom>
        </p:spPr>
        <p:txBody>
          <a:bodyPr wrap="square">
            <a:spAutoFit/>
          </a:bodyPr>
          <a:lstStyle/>
          <a:p>
            <a:pPr marL="285750" indent="-285750">
              <a:buFont typeface="Arial" panose="020B0604020202020204" pitchFamily="34" charset="0"/>
              <a:buChar char="•"/>
            </a:pPr>
            <a:r>
              <a:rPr lang="en-US" dirty="0">
                <a:latin typeface="+mj-lt"/>
              </a:rPr>
              <a:t>Increase in some non-PCV serotypes lead by serotype 8   </a:t>
            </a:r>
          </a:p>
        </p:txBody>
      </p:sp>
    </p:spTree>
    <p:extLst>
      <p:ext uri="{BB962C8B-B14F-4D97-AF65-F5344CB8AC3E}">
        <p14:creationId xmlns:p14="http://schemas.microsoft.com/office/powerpoint/2010/main" val="8332694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2293"/>
            <a:ext cx="12192000" cy="1439896"/>
          </a:xfrm>
          <a:solidFill>
            <a:schemeClr val="bg1"/>
          </a:solidFill>
        </p:spPr>
        <p:txBody>
          <a:bodyPr>
            <a:normAutofit/>
          </a:bodyPr>
          <a:lstStyle/>
          <a:p>
            <a:pPr algn="l"/>
            <a:r>
              <a:rPr lang="en-US" sz="2400" dirty="0">
                <a:latin typeface="Calibri Light" panose="020F0302020204030204" pitchFamily="34" charset="0"/>
                <a:cs typeface="Calibri Light" panose="020F0302020204030204" pitchFamily="34" charset="0"/>
              </a:rPr>
              <a:t>Pneumococcal serotype 8 sequence type distribution by year, among persons of all age groups in South Africa, 2005 – 2014 (N=399)</a:t>
            </a:r>
            <a:r>
              <a:rPr lang="en-ZA" sz="2400" dirty="0">
                <a:latin typeface="Calibri Light" panose="020F0302020204030204" pitchFamily="34" charset="0"/>
                <a:cs typeface="Calibri Light" panose="020F0302020204030204" pitchFamily="34" charset="0"/>
              </a:rPr>
              <a:t/>
            </a:r>
            <a:br>
              <a:rPr lang="en-ZA" sz="2400" dirty="0">
                <a:latin typeface="Calibri Light" panose="020F0302020204030204" pitchFamily="34" charset="0"/>
                <a:cs typeface="Calibri Light" panose="020F0302020204030204" pitchFamily="34" charset="0"/>
              </a:rPr>
            </a:br>
            <a:endParaRPr lang="en-GB" sz="2400" dirty="0">
              <a:solidFill>
                <a:srgbClr val="00B050"/>
              </a:solidFill>
              <a:effectLst>
                <a:outerShdw blurRad="38100" dist="38100" dir="2700000" algn="tl">
                  <a:srgbClr val="000000">
                    <a:alpha val="43137"/>
                  </a:srgbClr>
                </a:outerShdw>
              </a:effectLst>
              <a:latin typeface="Calibri Light" panose="020F0302020204030204" pitchFamily="34" charset="0"/>
              <a:cs typeface="Calibri Light" panose="020F0302020204030204" pitchFamily="34" charset="0"/>
            </a:endParaRPr>
          </a:p>
        </p:txBody>
      </p:sp>
      <p:grpSp>
        <p:nvGrpSpPr>
          <p:cNvPr id="5" name="Group 4"/>
          <p:cNvGrpSpPr/>
          <p:nvPr/>
        </p:nvGrpSpPr>
        <p:grpSpPr>
          <a:xfrm>
            <a:off x="920260" y="1833498"/>
            <a:ext cx="7827549" cy="4549287"/>
            <a:chOff x="1552574" y="2194380"/>
            <a:chExt cx="7827549" cy="4549287"/>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2574" y="2194380"/>
              <a:ext cx="7827549" cy="4549287"/>
            </a:xfrm>
            <a:prstGeom prst="rect">
              <a:avLst/>
            </a:prstGeom>
          </p:spPr>
        </p:pic>
        <p:sp>
          <p:nvSpPr>
            <p:cNvPr id="3" name="Oval 2"/>
            <p:cNvSpPr/>
            <p:nvPr/>
          </p:nvSpPr>
          <p:spPr>
            <a:xfrm flipH="1" flipV="1">
              <a:off x="3493104" y="2194380"/>
              <a:ext cx="428017" cy="388904"/>
            </a:xfrm>
            <a:prstGeom prst="ellipse">
              <a:avLst/>
            </a:prstGeom>
            <a:noFill/>
            <a:ln w="127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n>
                  <a:solidFill>
                    <a:srgbClr val="FF0000"/>
                  </a:solidFill>
                </a:ln>
                <a:noFill/>
              </a:endParaRPr>
            </a:p>
          </p:txBody>
        </p:sp>
      </p:grpSp>
      <p:sp>
        <p:nvSpPr>
          <p:cNvPr id="7" name="Rectangle 6">
            <a:extLst>
              <a:ext uri="{FF2B5EF4-FFF2-40B4-BE49-F238E27FC236}">
                <a16:creationId xmlns:a16="http://schemas.microsoft.com/office/drawing/2014/main" id="{73EB33A0-10F4-4FD5-9759-7055E737769A}"/>
              </a:ext>
            </a:extLst>
          </p:cNvPr>
          <p:cNvSpPr/>
          <p:nvPr/>
        </p:nvSpPr>
        <p:spPr>
          <a:xfrm>
            <a:off x="9336024" y="4636858"/>
            <a:ext cx="2855976" cy="1223412"/>
          </a:xfrm>
          <a:prstGeom prst="rect">
            <a:avLst/>
          </a:prstGeom>
        </p:spPr>
        <p:txBody>
          <a:bodyPr wrap="square">
            <a:spAutoFit/>
          </a:bodyPr>
          <a:lstStyle/>
          <a:p>
            <a:r>
              <a:rPr lang="en-US" sz="1050" dirty="0">
                <a:ea typeface="Calibri" panose="020F0502020204030204" pitchFamily="34" charset="0"/>
                <a:cs typeface="Times New Roman" panose="02020603050405020304" pitchFamily="18" charset="0"/>
              </a:rPr>
              <a:t>Lekhuleni et al., 12</a:t>
            </a:r>
            <a:r>
              <a:rPr lang="en-US" sz="1050" baseline="30000" dirty="0">
                <a:ea typeface="Calibri" panose="020F0502020204030204" pitchFamily="34" charset="0"/>
                <a:cs typeface="Times New Roman" panose="02020603050405020304" pitchFamily="18" charset="0"/>
              </a:rPr>
              <a:t>th</a:t>
            </a:r>
            <a:r>
              <a:rPr lang="en-US" sz="1050" dirty="0">
                <a:ea typeface="Calibri" panose="020F0502020204030204" pitchFamily="34" charset="0"/>
                <a:cs typeface="Times New Roman" panose="02020603050405020304" pitchFamily="18" charset="0"/>
              </a:rPr>
              <a:t> </a:t>
            </a:r>
            <a:r>
              <a:rPr lang="en-US" sz="1050" i="1" dirty="0">
                <a:ea typeface="Calibri" panose="020F0502020204030204" pitchFamily="34" charset="0"/>
                <a:cs typeface="Times New Roman" panose="02020603050405020304" pitchFamily="18" charset="0"/>
              </a:rPr>
              <a:t>International Symposium on Pneumococci and Pneumococcal Diseases </a:t>
            </a:r>
            <a:r>
              <a:rPr lang="en-US" sz="1050" dirty="0">
                <a:ea typeface="Calibri" panose="020F0502020204030204" pitchFamily="34" charset="0"/>
                <a:cs typeface="Times New Roman" panose="02020603050405020304" pitchFamily="18" charset="0"/>
              </a:rPr>
              <a:t>(ISPPD-12), </a:t>
            </a:r>
            <a:r>
              <a:rPr lang="en-US" sz="1050" dirty="0"/>
              <a:t>Sheraton Centre Toronto Hotel, Toronto, Canada, June 19-23, 2022, poster presentation: </a:t>
            </a:r>
            <a:r>
              <a:rPr lang="en-US" sz="1050" i="1" dirty="0"/>
              <a:t>Genomic epidemiology of invasive pneumococcal serotype 8 in the pre- and post-PCV13 eras in South Africa, 2005-2014</a:t>
            </a:r>
            <a:endParaRPr lang="en-ZA" sz="1050" dirty="0"/>
          </a:p>
        </p:txBody>
      </p:sp>
      <p:sp>
        <p:nvSpPr>
          <p:cNvPr id="8" name="Rectangle 7"/>
          <p:cNvSpPr/>
          <p:nvPr/>
        </p:nvSpPr>
        <p:spPr>
          <a:xfrm>
            <a:off x="8963593" y="2027950"/>
            <a:ext cx="2953752" cy="923330"/>
          </a:xfrm>
          <a:prstGeom prst="rect">
            <a:avLst/>
          </a:prstGeom>
        </p:spPr>
        <p:txBody>
          <a:bodyPr wrap="square">
            <a:spAutoFit/>
          </a:bodyPr>
          <a:lstStyle/>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Increase in serotype 8 is due to pre-existing lineage (ST53)</a:t>
            </a:r>
          </a:p>
        </p:txBody>
      </p:sp>
    </p:spTree>
    <p:extLst>
      <p:ext uri="{BB962C8B-B14F-4D97-AF65-F5344CB8AC3E}">
        <p14:creationId xmlns:p14="http://schemas.microsoft.com/office/powerpoint/2010/main" val="23146371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pqfc5.hbZnJslbzDCr_2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414</TotalTime>
  <Words>2362</Words>
  <Application>Microsoft Office PowerPoint</Application>
  <PresentationFormat>Widescreen</PresentationFormat>
  <Paragraphs>249</Paragraphs>
  <Slides>19</Slides>
  <Notes>16</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19</vt:i4>
      </vt:variant>
    </vt:vector>
  </HeadingPairs>
  <TitlesOfParts>
    <vt:vector size="35" baseType="lpstr">
      <vt:lpstr>ＭＳ Ｐゴシック</vt:lpstr>
      <vt:lpstr>Arial</vt:lpstr>
      <vt:lpstr>Arial Unicode MS</vt:lpstr>
      <vt:lpstr>Calibri</vt:lpstr>
      <vt:lpstr>Calibri Light</vt:lpstr>
      <vt:lpstr>Century Gothic</vt:lpstr>
      <vt:lpstr>Times</vt:lpstr>
      <vt:lpstr>Times New Roman</vt:lpstr>
      <vt:lpstr>Wingdings</vt:lpstr>
      <vt:lpstr>Office Theme</vt:lpstr>
      <vt:lpstr>2_Office Theme</vt:lpstr>
      <vt:lpstr>3_Office Theme</vt:lpstr>
      <vt:lpstr>4_Office Theme</vt:lpstr>
      <vt:lpstr>1_Office Theme</vt:lpstr>
      <vt:lpstr>5_Office Theme</vt:lpstr>
      <vt:lpstr>think-cell Slide</vt:lpstr>
      <vt:lpstr>PowerPoint Presentation</vt:lpstr>
      <vt:lpstr>Surveillance programs at CRDM</vt:lpstr>
      <vt:lpstr>ILI and Pneumonia surveillance sites, South Africa</vt:lpstr>
      <vt:lpstr>Phylogenetic tree based on hemagglutinin (HA) of influenza A(H1N1)pdm09 in South African, 2020- 07 November 2024</vt:lpstr>
      <vt:lpstr>PowerPoint Presentation</vt:lpstr>
      <vt:lpstr>PowerPoint Presentation</vt:lpstr>
      <vt:lpstr>Incidence of invasive pneumococcal disease (IPD) reported by year and age group, and the insert graph excluding children younger than 2 years, in South Africa in 2005–19</vt:lpstr>
      <vt:lpstr>Incidence of serotype 8 invasive pneumococcal disease reported by year, and by age group, in South Africa, 2005 through 2020 </vt:lpstr>
      <vt:lpstr>Pneumococcal serotype 8 sequence type distribution by year, among persons of all age groups in South Africa, 2005 – 2014 (N=399) </vt:lpstr>
      <vt:lpstr>PowerPoint Presentation</vt:lpstr>
      <vt:lpstr>PowerPoint Presentation</vt:lpstr>
      <vt:lpstr>Diphtheria </vt:lpstr>
      <vt:lpstr>PowerPoint Presentation</vt:lpstr>
      <vt:lpstr>PowerPoint Presentation</vt:lpstr>
      <vt:lpstr>PowerPoint Presentation</vt:lpstr>
      <vt:lpstr>PowerPoint Presentation</vt:lpstr>
      <vt:lpstr>Influenza-like illness and national syndromic surveillance for pneumonia, South Africa, 2022</vt:lpstr>
      <vt:lpstr>Acknowledgements</vt:lpstr>
      <vt:lpstr>PowerPoint Presentation</vt:lpstr>
    </vt:vector>
  </TitlesOfParts>
  <Company>NH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RS-CoV-2 sequencing beyond the pandemic: the South African experience</dc:title>
  <dc:creator>Anne Von Gottberg</dc:creator>
  <cp:lastModifiedBy>Kedibone Ndlangisa</cp:lastModifiedBy>
  <cp:revision>261</cp:revision>
  <cp:lastPrinted>2022-11-25T09:45:40Z</cp:lastPrinted>
  <dcterms:created xsi:type="dcterms:W3CDTF">2021-10-12T12:42:35Z</dcterms:created>
  <dcterms:modified xsi:type="dcterms:W3CDTF">2025-09-10T03:28:19Z</dcterms:modified>
</cp:coreProperties>
</file>